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1"/>
    <p:sldMasterId id="2147483672" r:id="rId2"/>
    <p:sldMasterId id="2147483684" r:id="rId3"/>
  </p:sldMasterIdLst>
  <p:notesMasterIdLst>
    <p:notesMasterId r:id="rId19"/>
  </p:notesMasterIdLst>
  <p:sldIdLst>
    <p:sldId id="256" r:id="rId4"/>
    <p:sldId id="276" r:id="rId5"/>
    <p:sldId id="928" r:id="rId6"/>
    <p:sldId id="973" r:id="rId7"/>
    <p:sldId id="762" r:id="rId8"/>
    <p:sldId id="765" r:id="rId9"/>
    <p:sldId id="766" r:id="rId10"/>
    <p:sldId id="947" r:id="rId11"/>
    <p:sldId id="975" r:id="rId12"/>
    <p:sldId id="955" r:id="rId13"/>
    <p:sldId id="976" r:id="rId14"/>
    <p:sldId id="978" r:id="rId15"/>
    <p:sldId id="979" r:id="rId16"/>
    <p:sldId id="980" r:id="rId17"/>
    <p:sldId id="839" r:id="rId1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gidadmin" initials="c" lastIdx="1" clrIdx="0">
    <p:extLst>
      <p:ext uri="{19B8F6BF-5375-455C-9EA6-DF929625EA0E}">
        <p15:presenceInfo xmlns:p15="http://schemas.microsoft.com/office/powerpoint/2012/main" userId="cegidadmin" providerId="None"/>
      </p:ext>
    </p:extLst>
  </p:cmAuthor>
  <p:cmAuthor id="2" name="christophe CHUECOS-FONT" initials="cCF" lastIdx="2" clrIdx="1">
    <p:extLst>
      <p:ext uri="{19B8F6BF-5375-455C-9EA6-DF929625EA0E}">
        <p15:presenceInfo xmlns:p15="http://schemas.microsoft.com/office/powerpoint/2012/main" userId="christophe CHUECOS-FO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632830-5E2C-4AAB-BE3F-9B87E87CD568}" v="4" dt="2021-04-30T09:17:15.76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81" autoAdjust="0"/>
    <p:restoredTop sz="94660"/>
  </p:normalViewPr>
  <p:slideViewPr>
    <p:cSldViewPr snapToGrid="0">
      <p:cViewPr varScale="1">
        <p:scale>
          <a:sx n="95" d="100"/>
          <a:sy n="95" d="100"/>
        </p:scale>
        <p:origin x="58"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ophe CHUECOS-FONT" userId="7e57acaa-4bc6-4644-8edc-0ecdded28594" providerId="ADAL" clId="{AEC8F169-53EF-477E-AA87-6479700505CB}"/>
    <pc:docChg chg="undo custSel addSld delSld modSld sldOrd">
      <pc:chgData name="christophe CHUECOS-FONT" userId="7e57acaa-4bc6-4644-8edc-0ecdded28594" providerId="ADAL" clId="{AEC8F169-53EF-477E-AA87-6479700505CB}" dt="2021-03-26T12:12:34.739" v="2012" actId="27636"/>
      <pc:docMkLst>
        <pc:docMk/>
      </pc:docMkLst>
      <pc:sldChg chg="modSp mod">
        <pc:chgData name="christophe CHUECOS-FONT" userId="7e57acaa-4bc6-4644-8edc-0ecdded28594" providerId="ADAL" clId="{AEC8F169-53EF-477E-AA87-6479700505CB}" dt="2021-03-26T12:12:34.739" v="2012" actId="27636"/>
        <pc:sldMkLst>
          <pc:docMk/>
          <pc:sldMk cId="3848639155" sldId="256"/>
        </pc:sldMkLst>
        <pc:spChg chg="mod">
          <ac:chgData name="christophe CHUECOS-FONT" userId="7e57acaa-4bc6-4644-8edc-0ecdded28594" providerId="ADAL" clId="{AEC8F169-53EF-477E-AA87-6479700505CB}" dt="2021-03-26T12:12:34.739" v="2012" actId="27636"/>
          <ac:spMkLst>
            <pc:docMk/>
            <pc:sldMk cId="3848639155" sldId="256"/>
            <ac:spMk id="3" creationId="{21349F9F-31B4-41DC-B4DB-C097467B5266}"/>
          </ac:spMkLst>
        </pc:spChg>
      </pc:sldChg>
      <pc:sldChg chg="modSp mod">
        <pc:chgData name="christophe CHUECOS-FONT" userId="7e57acaa-4bc6-4644-8edc-0ecdded28594" providerId="ADAL" clId="{AEC8F169-53EF-477E-AA87-6479700505CB}" dt="2021-03-24T15:50:43.175" v="63" actId="207"/>
        <pc:sldMkLst>
          <pc:docMk/>
          <pc:sldMk cId="251691404" sldId="276"/>
        </pc:sldMkLst>
        <pc:graphicFrameChg chg="mod modGraphic">
          <ac:chgData name="christophe CHUECOS-FONT" userId="7e57acaa-4bc6-4644-8edc-0ecdded28594" providerId="ADAL" clId="{AEC8F169-53EF-477E-AA87-6479700505CB}" dt="2021-03-24T15:50:43.175" v="63" actId="207"/>
          <ac:graphicFrameMkLst>
            <pc:docMk/>
            <pc:sldMk cId="251691404" sldId="276"/>
            <ac:graphicFrameMk id="3" creationId="{90A39BD7-E179-4570-8079-E6A295B49267}"/>
          </ac:graphicFrameMkLst>
        </pc:graphicFrameChg>
      </pc:sldChg>
      <pc:sldChg chg="ord">
        <pc:chgData name="christophe CHUECOS-FONT" userId="7e57acaa-4bc6-4644-8edc-0ecdded28594" providerId="ADAL" clId="{AEC8F169-53EF-477E-AA87-6479700505CB}" dt="2021-03-24T15:52:04.958" v="68"/>
        <pc:sldMkLst>
          <pc:docMk/>
          <pc:sldMk cId="1271957293" sldId="338"/>
        </pc:sldMkLst>
      </pc:sldChg>
      <pc:sldChg chg="ord">
        <pc:chgData name="christophe CHUECOS-FONT" userId="7e57acaa-4bc6-4644-8edc-0ecdded28594" providerId="ADAL" clId="{AEC8F169-53EF-477E-AA87-6479700505CB}" dt="2021-03-24T15:52:04.958" v="68"/>
        <pc:sldMkLst>
          <pc:docMk/>
          <pc:sldMk cId="2720677423" sldId="342"/>
        </pc:sldMkLst>
      </pc:sldChg>
      <pc:sldChg chg="modSp mod">
        <pc:chgData name="christophe CHUECOS-FONT" userId="7e57acaa-4bc6-4644-8edc-0ecdded28594" providerId="ADAL" clId="{AEC8F169-53EF-477E-AA87-6479700505CB}" dt="2021-03-24T15:59:18.286" v="541" actId="20577"/>
        <pc:sldMkLst>
          <pc:docMk/>
          <pc:sldMk cId="2343994896" sldId="867"/>
        </pc:sldMkLst>
        <pc:spChg chg="mod">
          <ac:chgData name="christophe CHUECOS-FONT" userId="7e57acaa-4bc6-4644-8edc-0ecdded28594" providerId="ADAL" clId="{AEC8F169-53EF-477E-AA87-6479700505CB}" dt="2021-03-24T15:59:18.286" v="541" actId="20577"/>
          <ac:spMkLst>
            <pc:docMk/>
            <pc:sldMk cId="2343994896" sldId="867"/>
            <ac:spMk id="3" creationId="{9FA71A85-160A-4CFF-9241-BA71D421B86B}"/>
          </ac:spMkLst>
        </pc:spChg>
      </pc:sldChg>
      <pc:sldChg chg="del">
        <pc:chgData name="christophe CHUECOS-FONT" userId="7e57acaa-4bc6-4644-8edc-0ecdded28594" providerId="ADAL" clId="{AEC8F169-53EF-477E-AA87-6479700505CB}" dt="2021-03-24T15:50:56.315" v="64" actId="47"/>
        <pc:sldMkLst>
          <pc:docMk/>
          <pc:sldMk cId="4246420157" sldId="868"/>
        </pc:sldMkLst>
      </pc:sldChg>
      <pc:sldChg chg="del">
        <pc:chgData name="christophe CHUECOS-FONT" userId="7e57acaa-4bc6-4644-8edc-0ecdded28594" providerId="ADAL" clId="{AEC8F169-53EF-477E-AA87-6479700505CB}" dt="2021-03-24T15:50:56.315" v="64" actId="47"/>
        <pc:sldMkLst>
          <pc:docMk/>
          <pc:sldMk cId="3567505306" sldId="869"/>
        </pc:sldMkLst>
      </pc:sldChg>
      <pc:sldChg chg="del">
        <pc:chgData name="christophe CHUECOS-FONT" userId="7e57acaa-4bc6-4644-8edc-0ecdded28594" providerId="ADAL" clId="{AEC8F169-53EF-477E-AA87-6479700505CB}" dt="2021-03-24T15:50:56.315" v="64" actId="47"/>
        <pc:sldMkLst>
          <pc:docMk/>
          <pc:sldMk cId="2916156587" sldId="870"/>
        </pc:sldMkLst>
      </pc:sldChg>
      <pc:sldChg chg="del">
        <pc:chgData name="christophe CHUECOS-FONT" userId="7e57acaa-4bc6-4644-8edc-0ecdded28594" providerId="ADAL" clId="{AEC8F169-53EF-477E-AA87-6479700505CB}" dt="2021-03-24T15:50:56.315" v="64" actId="47"/>
        <pc:sldMkLst>
          <pc:docMk/>
          <pc:sldMk cId="2390975454" sldId="872"/>
        </pc:sldMkLst>
      </pc:sldChg>
      <pc:sldChg chg="del">
        <pc:chgData name="christophe CHUECOS-FONT" userId="7e57acaa-4bc6-4644-8edc-0ecdded28594" providerId="ADAL" clId="{AEC8F169-53EF-477E-AA87-6479700505CB}" dt="2021-03-24T15:51:03.011" v="65" actId="47"/>
        <pc:sldMkLst>
          <pc:docMk/>
          <pc:sldMk cId="1420163618" sldId="874"/>
        </pc:sldMkLst>
      </pc:sldChg>
      <pc:sldChg chg="addSp delSp modSp del mod">
        <pc:chgData name="christophe CHUECOS-FONT" userId="7e57acaa-4bc6-4644-8edc-0ecdded28594" providerId="ADAL" clId="{AEC8F169-53EF-477E-AA87-6479700505CB}" dt="2021-03-24T16:27:10.865" v="606" actId="47"/>
        <pc:sldMkLst>
          <pc:docMk/>
          <pc:sldMk cId="1272505437" sldId="875"/>
        </pc:sldMkLst>
        <pc:spChg chg="add del mod">
          <ac:chgData name="christophe CHUECOS-FONT" userId="7e57acaa-4bc6-4644-8edc-0ecdded28594" providerId="ADAL" clId="{AEC8F169-53EF-477E-AA87-6479700505CB}" dt="2021-03-24T16:05:58.608" v="574" actId="27636"/>
          <ac:spMkLst>
            <pc:docMk/>
            <pc:sldMk cId="1272505437" sldId="875"/>
            <ac:spMk id="2" creationId="{AEFCB68E-E041-4E46-A233-3C2208DA32CB}"/>
          </ac:spMkLst>
        </pc:spChg>
        <pc:spChg chg="add del mod">
          <ac:chgData name="christophe CHUECOS-FONT" userId="7e57acaa-4bc6-4644-8edc-0ecdded28594" providerId="ADAL" clId="{AEC8F169-53EF-477E-AA87-6479700505CB}" dt="2021-03-24T16:05:58.577" v="573" actId="255"/>
          <ac:spMkLst>
            <pc:docMk/>
            <pc:sldMk cId="1272505437" sldId="875"/>
            <ac:spMk id="3" creationId="{9FA71A85-160A-4CFF-9241-BA71D421B86B}"/>
          </ac:spMkLst>
        </pc:spChg>
        <pc:spChg chg="add del mod">
          <ac:chgData name="christophe CHUECOS-FONT" userId="7e57acaa-4bc6-4644-8edc-0ecdded28594" providerId="ADAL" clId="{AEC8F169-53EF-477E-AA87-6479700505CB}" dt="2021-03-24T16:05:43.099" v="572" actId="21"/>
          <ac:spMkLst>
            <pc:docMk/>
            <pc:sldMk cId="1272505437" sldId="875"/>
            <ac:spMk id="7" creationId="{7474A46D-EC03-451B-8937-EB17AC694879}"/>
          </ac:spMkLst>
        </pc:spChg>
        <pc:spChg chg="add del mod">
          <ac:chgData name="christophe CHUECOS-FONT" userId="7e57acaa-4bc6-4644-8edc-0ecdded28594" providerId="ADAL" clId="{AEC8F169-53EF-477E-AA87-6479700505CB}" dt="2021-03-24T16:05:43.099" v="572" actId="21"/>
          <ac:spMkLst>
            <pc:docMk/>
            <pc:sldMk cId="1272505437" sldId="875"/>
            <ac:spMk id="9" creationId="{51C7B3E8-0B4D-4DE7-B85D-BF987A04E337}"/>
          </ac:spMkLst>
        </pc:spChg>
        <pc:spChg chg="add del mod">
          <ac:chgData name="christophe CHUECOS-FONT" userId="7e57acaa-4bc6-4644-8edc-0ecdded28594" providerId="ADAL" clId="{AEC8F169-53EF-477E-AA87-6479700505CB}" dt="2021-03-24T16:05:58.577" v="573" actId="255"/>
          <ac:spMkLst>
            <pc:docMk/>
            <pc:sldMk cId="1272505437" sldId="875"/>
            <ac:spMk id="17" creationId="{100EDD19-6802-4EC3-95CE-CFFAB042CFD6}"/>
          </ac:spMkLst>
        </pc:spChg>
        <pc:spChg chg="add del mod">
          <ac:chgData name="christophe CHUECOS-FONT" userId="7e57acaa-4bc6-4644-8edc-0ecdded28594" providerId="ADAL" clId="{AEC8F169-53EF-477E-AA87-6479700505CB}" dt="2021-03-24T16:05:58.577" v="573" actId="255"/>
          <ac:spMkLst>
            <pc:docMk/>
            <pc:sldMk cId="1272505437" sldId="875"/>
            <ac:spMk id="19" creationId="{DB17E863-922E-4C26-BD64-E8FD41D28661}"/>
          </ac:spMkLst>
        </pc:spChg>
        <pc:graphicFrameChg chg="add del mod">
          <ac:chgData name="christophe CHUECOS-FONT" userId="7e57acaa-4bc6-4644-8edc-0ecdded28594" providerId="ADAL" clId="{AEC8F169-53EF-477E-AA87-6479700505CB}" dt="2021-03-24T16:04:37.401" v="545" actId="478"/>
          <ac:graphicFrameMkLst>
            <pc:docMk/>
            <pc:sldMk cId="1272505437" sldId="875"/>
            <ac:graphicFrameMk id="4" creationId="{79E6EB5D-C087-4EEF-98A7-C4EBFBBFAC6F}"/>
          </ac:graphicFrameMkLst>
        </pc:graphicFrameChg>
        <pc:graphicFrameChg chg="add del mod modGraphic">
          <ac:chgData name="christophe CHUECOS-FONT" userId="7e57acaa-4bc6-4644-8edc-0ecdded28594" providerId="ADAL" clId="{AEC8F169-53EF-477E-AA87-6479700505CB}" dt="2021-03-24T16:05:43.099" v="572" actId="21"/>
          <ac:graphicFrameMkLst>
            <pc:docMk/>
            <pc:sldMk cId="1272505437" sldId="875"/>
            <ac:graphicFrameMk id="5" creationId="{3B2EE863-69EE-470E-A078-DDF1D7866279}"/>
          </ac:graphicFrameMkLst>
        </pc:graphicFrameChg>
      </pc:sldChg>
      <pc:sldChg chg="del">
        <pc:chgData name="christophe CHUECOS-FONT" userId="7e57acaa-4bc6-4644-8edc-0ecdded28594" providerId="ADAL" clId="{AEC8F169-53EF-477E-AA87-6479700505CB}" dt="2021-03-24T15:51:03.011" v="65" actId="47"/>
        <pc:sldMkLst>
          <pc:docMk/>
          <pc:sldMk cId="2120194084" sldId="876"/>
        </pc:sldMkLst>
      </pc:sldChg>
      <pc:sldChg chg="del">
        <pc:chgData name="christophe CHUECOS-FONT" userId="7e57acaa-4bc6-4644-8edc-0ecdded28594" providerId="ADAL" clId="{AEC8F169-53EF-477E-AA87-6479700505CB}" dt="2021-03-24T15:51:03.011" v="65" actId="47"/>
        <pc:sldMkLst>
          <pc:docMk/>
          <pc:sldMk cId="3555506515" sldId="881"/>
        </pc:sldMkLst>
      </pc:sldChg>
      <pc:sldChg chg="del">
        <pc:chgData name="christophe CHUECOS-FONT" userId="7e57acaa-4bc6-4644-8edc-0ecdded28594" providerId="ADAL" clId="{AEC8F169-53EF-477E-AA87-6479700505CB}" dt="2021-03-24T15:51:03.011" v="65" actId="47"/>
        <pc:sldMkLst>
          <pc:docMk/>
          <pc:sldMk cId="4214439185" sldId="882"/>
        </pc:sldMkLst>
      </pc:sldChg>
      <pc:sldChg chg="del">
        <pc:chgData name="christophe CHUECOS-FONT" userId="7e57acaa-4bc6-4644-8edc-0ecdded28594" providerId="ADAL" clId="{AEC8F169-53EF-477E-AA87-6479700505CB}" dt="2021-03-24T15:51:03.011" v="65" actId="47"/>
        <pc:sldMkLst>
          <pc:docMk/>
          <pc:sldMk cId="956738131" sldId="883"/>
        </pc:sldMkLst>
      </pc:sldChg>
      <pc:sldChg chg="del">
        <pc:chgData name="christophe CHUECOS-FONT" userId="7e57acaa-4bc6-4644-8edc-0ecdded28594" providerId="ADAL" clId="{AEC8F169-53EF-477E-AA87-6479700505CB}" dt="2021-03-24T15:51:03.011" v="65" actId="47"/>
        <pc:sldMkLst>
          <pc:docMk/>
          <pc:sldMk cId="564049889" sldId="884"/>
        </pc:sldMkLst>
      </pc:sldChg>
      <pc:sldChg chg="del">
        <pc:chgData name="christophe CHUECOS-FONT" userId="7e57acaa-4bc6-4644-8edc-0ecdded28594" providerId="ADAL" clId="{AEC8F169-53EF-477E-AA87-6479700505CB}" dt="2021-03-24T15:51:03.011" v="65" actId="47"/>
        <pc:sldMkLst>
          <pc:docMk/>
          <pc:sldMk cId="2500649885" sldId="885"/>
        </pc:sldMkLst>
      </pc:sldChg>
      <pc:sldChg chg="del">
        <pc:chgData name="christophe CHUECOS-FONT" userId="7e57acaa-4bc6-4644-8edc-0ecdded28594" providerId="ADAL" clId="{AEC8F169-53EF-477E-AA87-6479700505CB}" dt="2021-03-24T15:51:03.011" v="65" actId="47"/>
        <pc:sldMkLst>
          <pc:docMk/>
          <pc:sldMk cId="2772397083" sldId="886"/>
        </pc:sldMkLst>
      </pc:sldChg>
      <pc:sldChg chg="del">
        <pc:chgData name="christophe CHUECOS-FONT" userId="7e57acaa-4bc6-4644-8edc-0ecdded28594" providerId="ADAL" clId="{AEC8F169-53EF-477E-AA87-6479700505CB}" dt="2021-03-24T15:51:03.011" v="65" actId="47"/>
        <pc:sldMkLst>
          <pc:docMk/>
          <pc:sldMk cId="4010406189" sldId="887"/>
        </pc:sldMkLst>
      </pc:sldChg>
      <pc:sldChg chg="del">
        <pc:chgData name="christophe CHUECOS-FONT" userId="7e57acaa-4bc6-4644-8edc-0ecdded28594" providerId="ADAL" clId="{AEC8F169-53EF-477E-AA87-6479700505CB}" dt="2021-03-24T15:51:03.011" v="65" actId="47"/>
        <pc:sldMkLst>
          <pc:docMk/>
          <pc:sldMk cId="4292866186" sldId="888"/>
        </pc:sldMkLst>
      </pc:sldChg>
      <pc:sldChg chg="del">
        <pc:chgData name="christophe CHUECOS-FONT" userId="7e57acaa-4bc6-4644-8edc-0ecdded28594" providerId="ADAL" clId="{AEC8F169-53EF-477E-AA87-6479700505CB}" dt="2021-03-24T15:51:03.011" v="65" actId="47"/>
        <pc:sldMkLst>
          <pc:docMk/>
          <pc:sldMk cId="3854511998" sldId="889"/>
        </pc:sldMkLst>
      </pc:sldChg>
      <pc:sldChg chg="del">
        <pc:chgData name="christophe CHUECOS-FONT" userId="7e57acaa-4bc6-4644-8edc-0ecdded28594" providerId="ADAL" clId="{AEC8F169-53EF-477E-AA87-6479700505CB}" dt="2021-03-24T18:05:55.052" v="1292" actId="47"/>
        <pc:sldMkLst>
          <pc:docMk/>
          <pc:sldMk cId="2561881984" sldId="890"/>
        </pc:sldMkLst>
      </pc:sldChg>
      <pc:sldChg chg="del">
        <pc:chgData name="christophe CHUECOS-FONT" userId="7e57acaa-4bc6-4644-8edc-0ecdded28594" providerId="ADAL" clId="{AEC8F169-53EF-477E-AA87-6479700505CB}" dt="2021-03-24T15:51:46.422" v="66" actId="47"/>
        <pc:sldMkLst>
          <pc:docMk/>
          <pc:sldMk cId="162758596" sldId="891"/>
        </pc:sldMkLst>
      </pc:sldChg>
      <pc:sldChg chg="del">
        <pc:chgData name="christophe CHUECOS-FONT" userId="7e57acaa-4bc6-4644-8edc-0ecdded28594" providerId="ADAL" clId="{AEC8F169-53EF-477E-AA87-6479700505CB}" dt="2021-03-24T15:51:46.422" v="66" actId="47"/>
        <pc:sldMkLst>
          <pc:docMk/>
          <pc:sldMk cId="3592509618" sldId="892"/>
        </pc:sldMkLst>
      </pc:sldChg>
      <pc:sldChg chg="del">
        <pc:chgData name="christophe CHUECOS-FONT" userId="7e57acaa-4bc6-4644-8edc-0ecdded28594" providerId="ADAL" clId="{AEC8F169-53EF-477E-AA87-6479700505CB}" dt="2021-03-24T15:51:46.422" v="66" actId="47"/>
        <pc:sldMkLst>
          <pc:docMk/>
          <pc:sldMk cId="1833177139" sldId="893"/>
        </pc:sldMkLst>
      </pc:sldChg>
      <pc:sldChg chg="del">
        <pc:chgData name="christophe CHUECOS-FONT" userId="7e57acaa-4bc6-4644-8edc-0ecdded28594" providerId="ADAL" clId="{AEC8F169-53EF-477E-AA87-6479700505CB}" dt="2021-03-24T15:51:46.422" v="66" actId="47"/>
        <pc:sldMkLst>
          <pc:docMk/>
          <pc:sldMk cId="3528439896" sldId="895"/>
        </pc:sldMkLst>
      </pc:sldChg>
      <pc:sldChg chg="del">
        <pc:chgData name="christophe CHUECOS-FONT" userId="7e57acaa-4bc6-4644-8edc-0ecdded28594" providerId="ADAL" clId="{AEC8F169-53EF-477E-AA87-6479700505CB}" dt="2021-03-24T18:05:57.600" v="1293" actId="47"/>
        <pc:sldMkLst>
          <pc:docMk/>
          <pc:sldMk cId="2970499838" sldId="896"/>
        </pc:sldMkLst>
      </pc:sldChg>
      <pc:sldChg chg="del">
        <pc:chgData name="christophe CHUECOS-FONT" userId="7e57acaa-4bc6-4644-8edc-0ecdded28594" providerId="ADAL" clId="{AEC8F169-53EF-477E-AA87-6479700505CB}" dt="2021-03-24T15:51:46.422" v="66" actId="47"/>
        <pc:sldMkLst>
          <pc:docMk/>
          <pc:sldMk cId="3210478480" sldId="897"/>
        </pc:sldMkLst>
      </pc:sldChg>
      <pc:sldChg chg="del">
        <pc:chgData name="christophe CHUECOS-FONT" userId="7e57acaa-4bc6-4644-8edc-0ecdded28594" providerId="ADAL" clId="{AEC8F169-53EF-477E-AA87-6479700505CB}" dt="2021-03-24T15:51:46.422" v="66" actId="47"/>
        <pc:sldMkLst>
          <pc:docMk/>
          <pc:sldMk cId="1288409538" sldId="898"/>
        </pc:sldMkLst>
      </pc:sldChg>
      <pc:sldChg chg="del">
        <pc:chgData name="christophe CHUECOS-FONT" userId="7e57acaa-4bc6-4644-8edc-0ecdded28594" providerId="ADAL" clId="{AEC8F169-53EF-477E-AA87-6479700505CB}" dt="2021-03-24T15:51:46.422" v="66" actId="47"/>
        <pc:sldMkLst>
          <pc:docMk/>
          <pc:sldMk cId="3763403550" sldId="899"/>
        </pc:sldMkLst>
      </pc:sldChg>
      <pc:sldChg chg="del">
        <pc:chgData name="christophe CHUECOS-FONT" userId="7e57acaa-4bc6-4644-8edc-0ecdded28594" providerId="ADAL" clId="{AEC8F169-53EF-477E-AA87-6479700505CB}" dt="2021-03-24T15:51:46.422" v="66" actId="47"/>
        <pc:sldMkLst>
          <pc:docMk/>
          <pc:sldMk cId="456064155" sldId="901"/>
        </pc:sldMkLst>
      </pc:sldChg>
      <pc:sldChg chg="del">
        <pc:chgData name="christophe CHUECOS-FONT" userId="7e57acaa-4bc6-4644-8edc-0ecdded28594" providerId="ADAL" clId="{AEC8F169-53EF-477E-AA87-6479700505CB}" dt="2021-03-24T15:51:46.422" v="66" actId="47"/>
        <pc:sldMkLst>
          <pc:docMk/>
          <pc:sldMk cId="3566007874" sldId="902"/>
        </pc:sldMkLst>
      </pc:sldChg>
      <pc:sldChg chg="modSp mod ord">
        <pc:chgData name="christophe CHUECOS-FONT" userId="7e57acaa-4bc6-4644-8edc-0ecdded28594" providerId="ADAL" clId="{AEC8F169-53EF-477E-AA87-6479700505CB}" dt="2021-03-26T12:05:37.018" v="1960"/>
        <pc:sldMkLst>
          <pc:docMk/>
          <pc:sldMk cId="518596460" sldId="903"/>
        </pc:sldMkLst>
        <pc:spChg chg="mod">
          <ac:chgData name="christophe CHUECOS-FONT" userId="7e57acaa-4bc6-4644-8edc-0ecdded28594" providerId="ADAL" clId="{AEC8F169-53EF-477E-AA87-6479700505CB}" dt="2021-03-26T10:42:42.730" v="1326" actId="6549"/>
          <ac:spMkLst>
            <pc:docMk/>
            <pc:sldMk cId="518596460" sldId="903"/>
            <ac:spMk id="2" creationId="{41644713-AF21-4543-94FE-A96FEBAA2B11}"/>
          </ac:spMkLst>
        </pc:spChg>
        <pc:spChg chg="mod">
          <ac:chgData name="christophe CHUECOS-FONT" userId="7e57acaa-4bc6-4644-8edc-0ecdded28594" providerId="ADAL" clId="{AEC8F169-53EF-477E-AA87-6479700505CB}" dt="2021-03-26T10:42:39.267" v="1325" actId="20577"/>
          <ac:spMkLst>
            <pc:docMk/>
            <pc:sldMk cId="518596460" sldId="903"/>
            <ac:spMk id="3" creationId="{6E6AB3AA-03B3-4E7A-94A3-3EB3E0E9D005}"/>
          </ac:spMkLst>
        </pc:spChg>
      </pc:sldChg>
      <pc:sldChg chg="modSp mod">
        <pc:chgData name="christophe CHUECOS-FONT" userId="7e57acaa-4bc6-4644-8edc-0ecdded28594" providerId="ADAL" clId="{AEC8F169-53EF-477E-AA87-6479700505CB}" dt="2021-03-26T10:42:27.630" v="1316" actId="20577"/>
        <pc:sldMkLst>
          <pc:docMk/>
          <pc:sldMk cId="2856685236" sldId="904"/>
        </pc:sldMkLst>
        <pc:spChg chg="mod">
          <ac:chgData name="christophe CHUECOS-FONT" userId="7e57acaa-4bc6-4644-8edc-0ecdded28594" providerId="ADAL" clId="{AEC8F169-53EF-477E-AA87-6479700505CB}" dt="2021-03-26T10:42:27.630" v="1316" actId="20577"/>
          <ac:spMkLst>
            <pc:docMk/>
            <pc:sldMk cId="2856685236" sldId="904"/>
            <ac:spMk id="5" creationId="{DFEA2082-E7DE-4453-8158-54F380B94285}"/>
          </ac:spMkLst>
        </pc:spChg>
      </pc:sldChg>
      <pc:sldChg chg="modSp mod ord">
        <pc:chgData name="christophe CHUECOS-FONT" userId="7e57acaa-4bc6-4644-8edc-0ecdded28594" providerId="ADAL" clId="{AEC8F169-53EF-477E-AA87-6479700505CB}" dt="2021-03-24T15:56:08.212" v="148" actId="20577"/>
        <pc:sldMkLst>
          <pc:docMk/>
          <pc:sldMk cId="963568808" sldId="905"/>
        </pc:sldMkLst>
        <pc:spChg chg="mod">
          <ac:chgData name="christophe CHUECOS-FONT" userId="7e57acaa-4bc6-4644-8edc-0ecdded28594" providerId="ADAL" clId="{AEC8F169-53EF-477E-AA87-6479700505CB}" dt="2021-03-24T15:56:08.212" v="148" actId="20577"/>
          <ac:spMkLst>
            <pc:docMk/>
            <pc:sldMk cId="963568808" sldId="905"/>
            <ac:spMk id="5" creationId="{DFEA2082-E7DE-4453-8158-54F380B94285}"/>
          </ac:spMkLst>
        </pc:spChg>
      </pc:sldChg>
      <pc:sldChg chg="modSp mod ord">
        <pc:chgData name="christophe CHUECOS-FONT" userId="7e57acaa-4bc6-4644-8edc-0ecdded28594" providerId="ADAL" clId="{AEC8F169-53EF-477E-AA87-6479700505CB}" dt="2021-03-24T15:57:06.465" v="292" actId="20577"/>
        <pc:sldMkLst>
          <pc:docMk/>
          <pc:sldMk cId="2413877595" sldId="906"/>
        </pc:sldMkLst>
        <pc:spChg chg="mod">
          <ac:chgData name="christophe CHUECOS-FONT" userId="7e57acaa-4bc6-4644-8edc-0ecdded28594" providerId="ADAL" clId="{AEC8F169-53EF-477E-AA87-6479700505CB}" dt="2021-03-24T15:57:06.465" v="292" actId="20577"/>
          <ac:spMkLst>
            <pc:docMk/>
            <pc:sldMk cId="2413877595" sldId="906"/>
            <ac:spMk id="3" creationId="{9FA71A85-160A-4CFF-9241-BA71D421B86B}"/>
          </ac:spMkLst>
        </pc:spChg>
      </pc:sldChg>
      <pc:sldChg chg="del">
        <pc:chgData name="christophe CHUECOS-FONT" userId="7e57acaa-4bc6-4644-8edc-0ecdded28594" providerId="ADAL" clId="{AEC8F169-53EF-477E-AA87-6479700505CB}" dt="2021-03-26T10:42:47.154" v="1327" actId="47"/>
        <pc:sldMkLst>
          <pc:docMk/>
          <pc:sldMk cId="606901911" sldId="907"/>
        </pc:sldMkLst>
      </pc:sldChg>
      <pc:sldChg chg="addSp delSp modSp mod setBg">
        <pc:chgData name="christophe CHUECOS-FONT" userId="7e57acaa-4bc6-4644-8edc-0ecdded28594" providerId="ADAL" clId="{AEC8F169-53EF-477E-AA87-6479700505CB}" dt="2021-03-26T11:24:33.867" v="1570" actId="26606"/>
        <pc:sldMkLst>
          <pc:docMk/>
          <pc:sldMk cId="3810924798" sldId="908"/>
        </pc:sldMkLst>
        <pc:spChg chg="mod">
          <ac:chgData name="christophe CHUECOS-FONT" userId="7e57acaa-4bc6-4644-8edc-0ecdded28594" providerId="ADAL" clId="{AEC8F169-53EF-477E-AA87-6479700505CB}" dt="2021-03-26T11:24:33.867" v="1570" actId="26606"/>
          <ac:spMkLst>
            <pc:docMk/>
            <pc:sldMk cId="3810924798" sldId="908"/>
            <ac:spMk id="2" creationId="{41644713-AF21-4543-94FE-A96FEBAA2B11}"/>
          </ac:spMkLst>
        </pc:spChg>
        <pc:spChg chg="add del mod">
          <ac:chgData name="christophe CHUECOS-FONT" userId="7e57acaa-4bc6-4644-8edc-0ecdded28594" providerId="ADAL" clId="{AEC8F169-53EF-477E-AA87-6479700505CB}" dt="2021-03-26T11:12:10.612" v="1335"/>
          <ac:spMkLst>
            <pc:docMk/>
            <pc:sldMk cId="3810924798" sldId="908"/>
            <ac:spMk id="4" creationId="{B3280688-2F61-454E-A709-72F5457646C7}"/>
          </ac:spMkLst>
        </pc:spChg>
        <pc:spChg chg="add del mod">
          <ac:chgData name="christophe CHUECOS-FONT" userId="7e57acaa-4bc6-4644-8edc-0ecdded28594" providerId="ADAL" clId="{AEC8F169-53EF-477E-AA87-6479700505CB}" dt="2021-03-26T11:12:26.826" v="1337"/>
          <ac:spMkLst>
            <pc:docMk/>
            <pc:sldMk cId="3810924798" sldId="908"/>
            <ac:spMk id="8" creationId="{5854B5F1-0E87-4605-90B3-DE0FD917AB2D}"/>
          </ac:spMkLst>
        </pc:spChg>
        <pc:spChg chg="add del">
          <ac:chgData name="christophe CHUECOS-FONT" userId="7e57acaa-4bc6-4644-8edc-0ecdded28594" providerId="ADAL" clId="{AEC8F169-53EF-477E-AA87-6479700505CB}" dt="2021-03-26T11:24:33.867" v="1570" actId="26606"/>
          <ac:spMkLst>
            <pc:docMk/>
            <pc:sldMk cId="3810924798" sldId="908"/>
            <ac:spMk id="14" creationId="{D12DDE76-C203-4047-9998-63900085B5E8}"/>
          </ac:spMkLst>
        </pc:spChg>
        <pc:graphicFrameChg chg="del mod">
          <ac:chgData name="christophe CHUECOS-FONT" userId="7e57acaa-4bc6-4644-8edc-0ecdded28594" providerId="ADAL" clId="{AEC8F169-53EF-477E-AA87-6479700505CB}" dt="2021-03-26T11:12:06.246" v="1334" actId="21"/>
          <ac:graphicFrameMkLst>
            <pc:docMk/>
            <pc:sldMk cId="3810924798" sldId="908"/>
            <ac:graphicFrameMk id="5" creationId="{43C069CA-369C-4FE3-84C1-BB47F63F8528}"/>
          </ac:graphicFrameMkLst>
        </pc:graphicFrameChg>
        <pc:graphicFrameChg chg="add mod modGraphic">
          <ac:chgData name="christophe CHUECOS-FONT" userId="7e57acaa-4bc6-4644-8edc-0ecdded28594" providerId="ADAL" clId="{AEC8F169-53EF-477E-AA87-6479700505CB}" dt="2021-03-26T11:24:33.867" v="1570" actId="26606"/>
          <ac:graphicFrameMkLst>
            <pc:docMk/>
            <pc:sldMk cId="3810924798" sldId="908"/>
            <ac:graphicFrameMk id="9" creationId="{28197CF5-4A66-4B20-AD59-453DC110C409}"/>
          </ac:graphicFrameMkLst>
        </pc:graphicFrameChg>
        <pc:picChg chg="add del mod">
          <ac:chgData name="christophe CHUECOS-FONT" userId="7e57acaa-4bc6-4644-8edc-0ecdded28594" providerId="ADAL" clId="{AEC8F169-53EF-477E-AA87-6479700505CB}" dt="2021-03-26T11:12:13.678" v="1336" actId="478"/>
          <ac:picMkLst>
            <pc:docMk/>
            <pc:sldMk cId="3810924798" sldId="908"/>
            <ac:picMk id="6" creationId="{544F78A7-7590-4A58-977C-A1AE62728009}"/>
          </ac:picMkLst>
        </pc:picChg>
      </pc:sldChg>
      <pc:sldChg chg="addSp delSp modSp mod setBg delCm">
        <pc:chgData name="christophe CHUECOS-FONT" userId="7e57acaa-4bc6-4644-8edc-0ecdded28594" providerId="ADAL" clId="{AEC8F169-53EF-477E-AA87-6479700505CB}" dt="2021-03-26T11:23:14.967" v="1558" actId="26606"/>
        <pc:sldMkLst>
          <pc:docMk/>
          <pc:sldMk cId="1480198139" sldId="909"/>
        </pc:sldMkLst>
        <pc:spChg chg="add del mod">
          <ac:chgData name="christophe CHUECOS-FONT" userId="7e57acaa-4bc6-4644-8edc-0ecdded28594" providerId="ADAL" clId="{AEC8F169-53EF-477E-AA87-6479700505CB}" dt="2021-03-26T11:15:06.063" v="1439"/>
          <ac:spMkLst>
            <pc:docMk/>
            <pc:sldMk cId="1480198139" sldId="909"/>
            <ac:spMk id="3" creationId="{147E1F0C-F017-4B02-B32E-08CCC3A44879}"/>
          </ac:spMkLst>
        </pc:spChg>
        <pc:spChg chg="add mod">
          <ac:chgData name="christophe CHUECOS-FONT" userId="7e57acaa-4bc6-4644-8edc-0ecdded28594" providerId="ADAL" clId="{AEC8F169-53EF-477E-AA87-6479700505CB}" dt="2021-03-26T11:23:14.967" v="1558" actId="26606"/>
          <ac:spMkLst>
            <pc:docMk/>
            <pc:sldMk cId="1480198139" sldId="909"/>
            <ac:spMk id="5" creationId="{0C94751B-4797-48DD-A7B0-4DB16F378D6D}"/>
          </ac:spMkLst>
        </pc:spChg>
        <pc:spChg chg="add">
          <ac:chgData name="christophe CHUECOS-FONT" userId="7e57acaa-4bc6-4644-8edc-0ecdded28594" providerId="ADAL" clId="{AEC8F169-53EF-477E-AA87-6479700505CB}" dt="2021-03-26T11:23:14.967" v="1558" actId="26606"/>
          <ac:spMkLst>
            <pc:docMk/>
            <pc:sldMk cId="1480198139" sldId="909"/>
            <ac:spMk id="7" creationId="{BACC6370-2D7E-4714-9D71-7542949D7D5D}"/>
          </ac:spMkLst>
        </pc:spChg>
        <pc:spChg chg="add">
          <ac:chgData name="christophe CHUECOS-FONT" userId="7e57acaa-4bc6-4644-8edc-0ecdded28594" providerId="ADAL" clId="{AEC8F169-53EF-477E-AA87-6479700505CB}" dt="2021-03-26T11:23:14.967" v="1558" actId="26606"/>
          <ac:spMkLst>
            <pc:docMk/>
            <pc:sldMk cId="1480198139" sldId="909"/>
            <ac:spMk id="9" creationId="{F68B3F68-107C-434F-AA38-110D5EA91B85}"/>
          </ac:spMkLst>
        </pc:spChg>
        <pc:spChg chg="add">
          <ac:chgData name="christophe CHUECOS-FONT" userId="7e57acaa-4bc6-4644-8edc-0ecdded28594" providerId="ADAL" clId="{AEC8F169-53EF-477E-AA87-6479700505CB}" dt="2021-03-26T11:23:14.967" v="1558" actId="26606"/>
          <ac:spMkLst>
            <pc:docMk/>
            <pc:sldMk cId="1480198139" sldId="909"/>
            <ac:spMk id="14" creationId="{AAD0DBB9-1A4B-4391-81D4-CB19F9AB918A}"/>
          </ac:spMkLst>
        </pc:spChg>
        <pc:spChg chg="add">
          <ac:chgData name="christophe CHUECOS-FONT" userId="7e57acaa-4bc6-4644-8edc-0ecdded28594" providerId="ADAL" clId="{AEC8F169-53EF-477E-AA87-6479700505CB}" dt="2021-03-26T11:23:14.967" v="1558" actId="26606"/>
          <ac:spMkLst>
            <pc:docMk/>
            <pc:sldMk cId="1480198139" sldId="909"/>
            <ac:spMk id="16" creationId="{063BBA22-50EA-4C4D-BE05-F1CE4E63AA56}"/>
          </ac:spMkLst>
        </pc:spChg>
        <pc:graphicFrameChg chg="add mod ord modGraphic">
          <ac:chgData name="christophe CHUECOS-FONT" userId="7e57acaa-4bc6-4644-8edc-0ecdded28594" providerId="ADAL" clId="{AEC8F169-53EF-477E-AA87-6479700505CB}" dt="2021-03-26T11:23:14.967" v="1558" actId="26606"/>
          <ac:graphicFrameMkLst>
            <pc:docMk/>
            <pc:sldMk cId="1480198139" sldId="909"/>
            <ac:graphicFrameMk id="4" creationId="{87A75930-C904-4BA5-8DC2-25CEE7078240}"/>
          </ac:graphicFrameMkLst>
        </pc:graphicFrameChg>
        <pc:graphicFrameChg chg="del mod modGraphic">
          <ac:chgData name="christophe CHUECOS-FONT" userId="7e57acaa-4bc6-4644-8edc-0ecdded28594" providerId="ADAL" clId="{AEC8F169-53EF-477E-AA87-6479700505CB}" dt="2021-03-26T11:14:54.180" v="1437" actId="21"/>
          <ac:graphicFrameMkLst>
            <pc:docMk/>
            <pc:sldMk cId="1480198139" sldId="909"/>
            <ac:graphicFrameMk id="13" creationId="{6EB9F717-B5A8-4A5D-B160-A8BE78AE15BF}"/>
          </ac:graphicFrameMkLst>
        </pc:graphicFrameChg>
      </pc:sldChg>
      <pc:sldChg chg="modSp mod">
        <pc:chgData name="christophe CHUECOS-FONT" userId="7e57acaa-4bc6-4644-8edc-0ecdded28594" providerId="ADAL" clId="{AEC8F169-53EF-477E-AA87-6479700505CB}" dt="2021-03-26T11:15:35.319" v="1442" actId="20577"/>
        <pc:sldMkLst>
          <pc:docMk/>
          <pc:sldMk cId="4043781952" sldId="910"/>
        </pc:sldMkLst>
        <pc:spChg chg="mod">
          <ac:chgData name="christophe CHUECOS-FONT" userId="7e57acaa-4bc6-4644-8edc-0ecdded28594" providerId="ADAL" clId="{AEC8F169-53EF-477E-AA87-6479700505CB}" dt="2021-03-26T11:15:35.319" v="1442" actId="20577"/>
          <ac:spMkLst>
            <pc:docMk/>
            <pc:sldMk cId="4043781952" sldId="910"/>
            <ac:spMk id="5" creationId="{DFEA2082-E7DE-4453-8158-54F380B94285}"/>
          </ac:spMkLst>
        </pc:spChg>
      </pc:sldChg>
      <pc:sldChg chg="modSp add mod ord">
        <pc:chgData name="christophe CHUECOS-FONT" userId="7e57acaa-4bc6-4644-8edc-0ecdded28594" providerId="ADAL" clId="{AEC8F169-53EF-477E-AA87-6479700505CB}" dt="2021-03-24T15:52:25.952" v="98" actId="6549"/>
        <pc:sldMkLst>
          <pc:docMk/>
          <pc:sldMk cId="3315866881" sldId="911"/>
        </pc:sldMkLst>
        <pc:spChg chg="mod">
          <ac:chgData name="christophe CHUECOS-FONT" userId="7e57acaa-4bc6-4644-8edc-0ecdded28594" providerId="ADAL" clId="{AEC8F169-53EF-477E-AA87-6479700505CB}" dt="2021-03-24T15:52:25.952" v="98" actId="6549"/>
          <ac:spMkLst>
            <pc:docMk/>
            <pc:sldMk cId="3315866881" sldId="911"/>
            <ac:spMk id="5" creationId="{DFEA2082-E7DE-4453-8158-54F380B94285}"/>
          </ac:spMkLst>
        </pc:spChg>
      </pc:sldChg>
      <pc:sldChg chg="modSp add mod">
        <pc:chgData name="christophe CHUECOS-FONT" userId="7e57acaa-4bc6-4644-8edc-0ecdded28594" providerId="ADAL" clId="{AEC8F169-53EF-477E-AA87-6479700505CB}" dt="2021-03-24T18:03:07.184" v="1083" actId="20577"/>
        <pc:sldMkLst>
          <pc:docMk/>
          <pc:sldMk cId="1509860493" sldId="912"/>
        </pc:sldMkLst>
        <pc:spChg chg="mod">
          <ac:chgData name="christophe CHUECOS-FONT" userId="7e57acaa-4bc6-4644-8edc-0ecdded28594" providerId="ADAL" clId="{AEC8F169-53EF-477E-AA87-6479700505CB}" dt="2021-03-24T17:58:17.955" v="784" actId="20577"/>
          <ac:spMkLst>
            <pc:docMk/>
            <pc:sldMk cId="1509860493" sldId="912"/>
            <ac:spMk id="2" creationId="{AEFCB68E-E041-4E46-A233-3C2208DA32CB}"/>
          </ac:spMkLst>
        </pc:spChg>
        <pc:spChg chg="mod">
          <ac:chgData name="christophe CHUECOS-FONT" userId="7e57acaa-4bc6-4644-8edc-0ecdded28594" providerId="ADAL" clId="{AEC8F169-53EF-477E-AA87-6479700505CB}" dt="2021-03-24T18:03:07.184" v="1083" actId="20577"/>
          <ac:spMkLst>
            <pc:docMk/>
            <pc:sldMk cId="1509860493" sldId="912"/>
            <ac:spMk id="3" creationId="{9FA71A85-160A-4CFF-9241-BA71D421B86B}"/>
          </ac:spMkLst>
        </pc:spChg>
      </pc:sldChg>
      <pc:sldChg chg="add del ord">
        <pc:chgData name="christophe CHUECOS-FONT" userId="7e57acaa-4bc6-4644-8edc-0ecdded28594" providerId="ADAL" clId="{AEC8F169-53EF-477E-AA87-6479700505CB}" dt="2021-03-24T15:55:57.538" v="133" actId="47"/>
        <pc:sldMkLst>
          <pc:docMk/>
          <pc:sldMk cId="2649786644" sldId="912"/>
        </pc:sldMkLst>
      </pc:sldChg>
      <pc:sldChg chg="addSp delSp modSp new mod ord">
        <pc:chgData name="christophe CHUECOS-FONT" userId="7e57acaa-4bc6-4644-8edc-0ecdded28594" providerId="ADAL" clId="{AEC8F169-53EF-477E-AA87-6479700505CB}" dt="2021-03-26T12:10:21.250" v="2000"/>
        <pc:sldMkLst>
          <pc:docMk/>
          <pc:sldMk cId="959441881" sldId="913"/>
        </pc:sldMkLst>
        <pc:spChg chg="del">
          <ac:chgData name="christophe CHUECOS-FONT" userId="7e57acaa-4bc6-4644-8edc-0ecdded28594" providerId="ADAL" clId="{AEC8F169-53EF-477E-AA87-6479700505CB}" dt="2021-03-24T16:06:12.494" v="576" actId="21"/>
          <ac:spMkLst>
            <pc:docMk/>
            <pc:sldMk cId="959441881" sldId="913"/>
            <ac:spMk id="2" creationId="{C24A9760-766E-474B-9BCD-8672980309A5}"/>
          </ac:spMkLst>
        </pc:spChg>
        <pc:spChg chg="del">
          <ac:chgData name="christophe CHUECOS-FONT" userId="7e57acaa-4bc6-4644-8edc-0ecdded28594" providerId="ADAL" clId="{AEC8F169-53EF-477E-AA87-6479700505CB}" dt="2021-03-24T16:06:21.248" v="577"/>
          <ac:spMkLst>
            <pc:docMk/>
            <pc:sldMk cId="959441881" sldId="913"/>
            <ac:spMk id="3" creationId="{53152A8F-D783-49B8-963B-862BC02C8978}"/>
          </ac:spMkLst>
        </pc:spChg>
        <pc:spChg chg="add del mod">
          <ac:chgData name="christophe CHUECOS-FONT" userId="7e57acaa-4bc6-4644-8edc-0ecdded28594" providerId="ADAL" clId="{AEC8F169-53EF-477E-AA87-6479700505CB}" dt="2021-03-24T16:24:58.629" v="588" actId="21"/>
          <ac:spMkLst>
            <pc:docMk/>
            <pc:sldMk cId="959441881" sldId="913"/>
            <ac:spMk id="6" creationId="{B32834A5-4CF3-4679-BF67-C824754CCFED}"/>
          </ac:spMkLst>
        </pc:spChg>
        <pc:graphicFrameChg chg="add del mod modGraphic">
          <ac:chgData name="christophe CHUECOS-FONT" userId="7e57acaa-4bc6-4644-8edc-0ecdded28594" providerId="ADAL" clId="{AEC8F169-53EF-477E-AA87-6479700505CB}" dt="2021-03-24T16:06:55.773" v="586"/>
          <ac:graphicFrameMkLst>
            <pc:docMk/>
            <pc:sldMk cId="959441881" sldId="913"/>
            <ac:graphicFrameMk id="7" creationId="{1FE6527B-2F07-467E-B6A6-E03766F069E7}"/>
          </ac:graphicFrameMkLst>
        </pc:graphicFrameChg>
        <pc:graphicFrameChg chg="add mod">
          <ac:chgData name="christophe CHUECOS-FONT" userId="7e57acaa-4bc6-4644-8edc-0ecdded28594" providerId="ADAL" clId="{AEC8F169-53EF-477E-AA87-6479700505CB}" dt="2021-03-24T16:25:13.862" v="591" actId="14100"/>
          <ac:graphicFrameMkLst>
            <pc:docMk/>
            <pc:sldMk cId="959441881" sldId="913"/>
            <ac:graphicFrameMk id="8" creationId="{03549B7A-066D-4011-88EB-5129437E0AC2}"/>
          </ac:graphicFrameMkLst>
        </pc:graphicFrameChg>
        <pc:picChg chg="add del mod">
          <ac:chgData name="christophe CHUECOS-FONT" userId="7e57acaa-4bc6-4644-8edc-0ecdded28594" providerId="ADAL" clId="{AEC8F169-53EF-477E-AA87-6479700505CB}" dt="2021-03-24T16:06:29.730" v="580" actId="21"/>
          <ac:picMkLst>
            <pc:docMk/>
            <pc:sldMk cId="959441881" sldId="913"/>
            <ac:picMk id="4" creationId="{FC563A73-BB60-4873-AD33-C25DE48C7F44}"/>
          </ac:picMkLst>
        </pc:picChg>
      </pc:sldChg>
      <pc:sldChg chg="addSp delSp modSp add mod ord">
        <pc:chgData name="christophe CHUECOS-FONT" userId="7e57acaa-4bc6-4644-8edc-0ecdded28594" providerId="ADAL" clId="{AEC8F169-53EF-477E-AA87-6479700505CB}" dt="2021-03-26T12:10:28.736" v="2002"/>
        <pc:sldMkLst>
          <pc:docMk/>
          <pc:sldMk cId="3118954032" sldId="914"/>
        </pc:sldMkLst>
        <pc:graphicFrameChg chg="add del mod modGraphic">
          <ac:chgData name="christophe CHUECOS-FONT" userId="7e57acaa-4bc6-4644-8edc-0ecdded28594" providerId="ADAL" clId="{AEC8F169-53EF-477E-AA87-6479700505CB}" dt="2021-03-24T16:25:58.313" v="597" actId="478"/>
          <ac:graphicFrameMkLst>
            <pc:docMk/>
            <pc:sldMk cId="3118954032" sldId="914"/>
            <ac:graphicFrameMk id="2" creationId="{D8AE8A75-7E51-417A-AB6C-DCF0F250C68E}"/>
          </ac:graphicFrameMkLst>
        </pc:graphicFrameChg>
        <pc:graphicFrameChg chg="add mod">
          <ac:chgData name="christophe CHUECOS-FONT" userId="7e57acaa-4bc6-4644-8edc-0ecdded28594" providerId="ADAL" clId="{AEC8F169-53EF-477E-AA87-6479700505CB}" dt="2021-03-24T16:26:14.922" v="600" actId="14100"/>
          <ac:graphicFrameMkLst>
            <pc:docMk/>
            <pc:sldMk cId="3118954032" sldId="914"/>
            <ac:graphicFrameMk id="3" creationId="{D1BABF3C-2D4C-44EE-953C-2D26242FA087}"/>
          </ac:graphicFrameMkLst>
        </pc:graphicFrameChg>
        <pc:graphicFrameChg chg="del">
          <ac:chgData name="christophe CHUECOS-FONT" userId="7e57acaa-4bc6-4644-8edc-0ecdded28594" providerId="ADAL" clId="{AEC8F169-53EF-477E-AA87-6479700505CB}" dt="2021-03-24T16:25:50.207" v="594" actId="478"/>
          <ac:graphicFrameMkLst>
            <pc:docMk/>
            <pc:sldMk cId="3118954032" sldId="914"/>
            <ac:graphicFrameMk id="8" creationId="{03549B7A-066D-4011-88EB-5129437E0AC2}"/>
          </ac:graphicFrameMkLst>
        </pc:graphicFrameChg>
      </pc:sldChg>
      <pc:sldChg chg="addSp delSp modSp add mod ord">
        <pc:chgData name="christophe CHUECOS-FONT" userId="7e57acaa-4bc6-4644-8edc-0ecdded28594" providerId="ADAL" clId="{AEC8F169-53EF-477E-AA87-6479700505CB}" dt="2021-03-26T12:10:33.787" v="2004"/>
        <pc:sldMkLst>
          <pc:docMk/>
          <pc:sldMk cId="3283168960" sldId="915"/>
        </pc:sldMkLst>
        <pc:graphicFrameChg chg="add mod">
          <ac:chgData name="christophe CHUECOS-FONT" userId="7e57acaa-4bc6-4644-8edc-0ecdded28594" providerId="ADAL" clId="{AEC8F169-53EF-477E-AA87-6479700505CB}" dt="2021-03-24T16:26:59.733" v="605" actId="14100"/>
          <ac:graphicFrameMkLst>
            <pc:docMk/>
            <pc:sldMk cId="3283168960" sldId="915"/>
            <ac:graphicFrameMk id="2" creationId="{26A5003C-883F-46D1-92B2-A39F7110646C}"/>
          </ac:graphicFrameMkLst>
        </pc:graphicFrameChg>
        <pc:graphicFrameChg chg="del">
          <ac:chgData name="christophe CHUECOS-FONT" userId="7e57acaa-4bc6-4644-8edc-0ecdded28594" providerId="ADAL" clId="{AEC8F169-53EF-477E-AA87-6479700505CB}" dt="2021-03-24T16:26:25.754" v="602" actId="478"/>
          <ac:graphicFrameMkLst>
            <pc:docMk/>
            <pc:sldMk cId="3283168960" sldId="915"/>
            <ac:graphicFrameMk id="3" creationId="{D1BABF3C-2D4C-44EE-953C-2D26242FA087}"/>
          </ac:graphicFrameMkLst>
        </pc:graphicFrameChg>
      </pc:sldChg>
      <pc:sldChg chg="addSp modSp add mod ord">
        <pc:chgData name="christophe CHUECOS-FONT" userId="7e57acaa-4bc6-4644-8edc-0ecdded28594" providerId="ADAL" clId="{AEC8F169-53EF-477E-AA87-6479700505CB}" dt="2021-03-24T17:53:31.703" v="627" actId="5793"/>
        <pc:sldMkLst>
          <pc:docMk/>
          <pc:sldMk cId="615629420" sldId="916"/>
        </pc:sldMkLst>
        <pc:spChg chg="mod">
          <ac:chgData name="christophe CHUECOS-FONT" userId="7e57acaa-4bc6-4644-8edc-0ecdded28594" providerId="ADAL" clId="{AEC8F169-53EF-477E-AA87-6479700505CB}" dt="2021-03-24T17:53:31.703" v="627" actId="5793"/>
          <ac:spMkLst>
            <pc:docMk/>
            <pc:sldMk cId="615629420" sldId="916"/>
            <ac:spMk id="2" creationId="{AEFCB68E-E041-4E46-A233-3C2208DA32CB}"/>
          </ac:spMkLst>
        </pc:spChg>
        <pc:spChg chg="mod">
          <ac:chgData name="christophe CHUECOS-FONT" userId="7e57acaa-4bc6-4644-8edc-0ecdded28594" providerId="ADAL" clId="{AEC8F169-53EF-477E-AA87-6479700505CB}" dt="2021-03-24T16:33:22.646" v="613" actId="6549"/>
          <ac:spMkLst>
            <pc:docMk/>
            <pc:sldMk cId="615629420" sldId="916"/>
            <ac:spMk id="3" creationId="{9FA71A85-160A-4CFF-9241-BA71D421B86B}"/>
          </ac:spMkLst>
        </pc:spChg>
        <pc:graphicFrameChg chg="add mod modGraphic">
          <ac:chgData name="christophe CHUECOS-FONT" userId="7e57acaa-4bc6-4644-8edc-0ecdded28594" providerId="ADAL" clId="{AEC8F169-53EF-477E-AA87-6479700505CB}" dt="2021-03-24T17:53:23.531" v="619" actId="12385"/>
          <ac:graphicFrameMkLst>
            <pc:docMk/>
            <pc:sldMk cId="615629420" sldId="916"/>
            <ac:graphicFrameMk id="4" creationId="{8B7C3765-CF61-4673-9715-52D9DB708ADA}"/>
          </ac:graphicFrameMkLst>
        </pc:graphicFrameChg>
      </pc:sldChg>
      <pc:sldChg chg="modSp add mod">
        <pc:chgData name="christophe CHUECOS-FONT" userId="7e57acaa-4bc6-4644-8edc-0ecdded28594" providerId="ADAL" clId="{AEC8F169-53EF-477E-AA87-6479700505CB}" dt="2021-03-24T18:02:55.805" v="1080" actId="20577"/>
        <pc:sldMkLst>
          <pc:docMk/>
          <pc:sldMk cId="2574895675" sldId="917"/>
        </pc:sldMkLst>
        <pc:spChg chg="mod">
          <ac:chgData name="christophe CHUECOS-FONT" userId="7e57acaa-4bc6-4644-8edc-0ecdded28594" providerId="ADAL" clId="{AEC8F169-53EF-477E-AA87-6479700505CB}" dt="2021-03-24T18:02:55.805" v="1080" actId="20577"/>
          <ac:spMkLst>
            <pc:docMk/>
            <pc:sldMk cId="2574895675" sldId="917"/>
            <ac:spMk id="2" creationId="{AEFCB68E-E041-4E46-A233-3C2208DA32CB}"/>
          </ac:spMkLst>
        </pc:spChg>
        <pc:graphicFrameChg chg="mod modGraphic">
          <ac:chgData name="christophe CHUECOS-FONT" userId="7e57acaa-4bc6-4644-8edc-0ecdded28594" providerId="ADAL" clId="{AEC8F169-53EF-477E-AA87-6479700505CB}" dt="2021-03-24T17:56:15.455" v="719" actId="20577"/>
          <ac:graphicFrameMkLst>
            <pc:docMk/>
            <pc:sldMk cId="2574895675" sldId="917"/>
            <ac:graphicFrameMk id="4" creationId="{8B7C3765-CF61-4673-9715-52D9DB708ADA}"/>
          </ac:graphicFrameMkLst>
        </pc:graphicFrameChg>
      </pc:sldChg>
      <pc:sldChg chg="modSp add mod">
        <pc:chgData name="christophe CHUECOS-FONT" userId="7e57acaa-4bc6-4644-8edc-0ecdded28594" providerId="ADAL" clId="{AEC8F169-53EF-477E-AA87-6479700505CB}" dt="2021-03-24T18:03:02.687" v="1082" actId="20577"/>
        <pc:sldMkLst>
          <pc:docMk/>
          <pc:sldMk cId="3194066504" sldId="918"/>
        </pc:sldMkLst>
        <pc:spChg chg="mod">
          <ac:chgData name="christophe CHUECOS-FONT" userId="7e57acaa-4bc6-4644-8edc-0ecdded28594" providerId="ADAL" clId="{AEC8F169-53EF-477E-AA87-6479700505CB}" dt="2021-03-24T17:56:46.294" v="725" actId="14100"/>
          <ac:spMkLst>
            <pc:docMk/>
            <pc:sldMk cId="3194066504" sldId="918"/>
            <ac:spMk id="2" creationId="{AEFCB68E-E041-4E46-A233-3C2208DA32CB}"/>
          </ac:spMkLst>
        </pc:spChg>
        <pc:graphicFrameChg chg="mod modGraphic">
          <ac:chgData name="christophe CHUECOS-FONT" userId="7e57acaa-4bc6-4644-8edc-0ecdded28594" providerId="ADAL" clId="{AEC8F169-53EF-477E-AA87-6479700505CB}" dt="2021-03-24T18:03:02.687" v="1082" actId="20577"/>
          <ac:graphicFrameMkLst>
            <pc:docMk/>
            <pc:sldMk cId="3194066504" sldId="918"/>
            <ac:graphicFrameMk id="4" creationId="{8B7C3765-CF61-4673-9715-52D9DB708ADA}"/>
          </ac:graphicFrameMkLst>
        </pc:graphicFrameChg>
      </pc:sldChg>
      <pc:sldChg chg="modSp add mod ord">
        <pc:chgData name="christophe CHUECOS-FONT" userId="7e57acaa-4bc6-4644-8edc-0ecdded28594" providerId="ADAL" clId="{AEC8F169-53EF-477E-AA87-6479700505CB}" dt="2021-03-24T18:03:26.725" v="1099" actId="20577"/>
        <pc:sldMkLst>
          <pc:docMk/>
          <pc:sldMk cId="2190585729" sldId="919"/>
        </pc:sldMkLst>
        <pc:spChg chg="mod">
          <ac:chgData name="christophe CHUECOS-FONT" userId="7e57acaa-4bc6-4644-8edc-0ecdded28594" providerId="ADAL" clId="{AEC8F169-53EF-477E-AA87-6479700505CB}" dt="2021-03-24T18:03:17.186" v="1092" actId="6549"/>
          <ac:spMkLst>
            <pc:docMk/>
            <pc:sldMk cId="2190585729" sldId="919"/>
            <ac:spMk id="2" creationId="{AEFCB68E-E041-4E46-A233-3C2208DA32CB}"/>
          </ac:spMkLst>
        </pc:spChg>
        <pc:graphicFrameChg chg="modGraphic">
          <ac:chgData name="christophe CHUECOS-FONT" userId="7e57acaa-4bc6-4644-8edc-0ecdded28594" providerId="ADAL" clId="{AEC8F169-53EF-477E-AA87-6479700505CB}" dt="2021-03-24T18:03:26.725" v="1099" actId="20577"/>
          <ac:graphicFrameMkLst>
            <pc:docMk/>
            <pc:sldMk cId="2190585729" sldId="919"/>
            <ac:graphicFrameMk id="4" creationId="{8B7C3765-CF61-4673-9715-52D9DB708ADA}"/>
          </ac:graphicFrameMkLst>
        </pc:graphicFrameChg>
      </pc:sldChg>
      <pc:sldChg chg="modSp add mod ord">
        <pc:chgData name="christophe CHUECOS-FONT" userId="7e57acaa-4bc6-4644-8edc-0ecdded28594" providerId="ADAL" clId="{AEC8F169-53EF-477E-AA87-6479700505CB}" dt="2021-03-24T18:04:11.729" v="1146" actId="20577"/>
        <pc:sldMkLst>
          <pc:docMk/>
          <pc:sldMk cId="104529388" sldId="920"/>
        </pc:sldMkLst>
        <pc:spChg chg="mod">
          <ac:chgData name="christophe CHUECOS-FONT" userId="7e57acaa-4bc6-4644-8edc-0ecdded28594" providerId="ADAL" clId="{AEC8F169-53EF-477E-AA87-6479700505CB}" dt="2021-03-24T18:02:50.282" v="1079" actId="27636"/>
          <ac:spMkLst>
            <pc:docMk/>
            <pc:sldMk cId="104529388" sldId="920"/>
            <ac:spMk id="2" creationId="{AEFCB68E-E041-4E46-A233-3C2208DA32CB}"/>
          </ac:spMkLst>
        </pc:spChg>
        <pc:graphicFrameChg chg="modGraphic">
          <ac:chgData name="christophe CHUECOS-FONT" userId="7e57acaa-4bc6-4644-8edc-0ecdded28594" providerId="ADAL" clId="{AEC8F169-53EF-477E-AA87-6479700505CB}" dt="2021-03-24T18:04:11.729" v="1146" actId="20577"/>
          <ac:graphicFrameMkLst>
            <pc:docMk/>
            <pc:sldMk cId="104529388" sldId="920"/>
            <ac:graphicFrameMk id="4" creationId="{8B7C3765-CF61-4673-9715-52D9DB708ADA}"/>
          </ac:graphicFrameMkLst>
        </pc:graphicFrameChg>
      </pc:sldChg>
      <pc:sldChg chg="modSp add mod ord">
        <pc:chgData name="christophe CHUECOS-FONT" userId="7e57acaa-4bc6-4644-8edc-0ecdded28594" providerId="ADAL" clId="{AEC8F169-53EF-477E-AA87-6479700505CB}" dt="2021-03-24T18:05:47.650" v="1291" actId="20577"/>
        <pc:sldMkLst>
          <pc:docMk/>
          <pc:sldMk cId="1524639244" sldId="921"/>
        </pc:sldMkLst>
        <pc:spChg chg="mod">
          <ac:chgData name="christophe CHUECOS-FONT" userId="7e57acaa-4bc6-4644-8edc-0ecdded28594" providerId="ADAL" clId="{AEC8F169-53EF-477E-AA87-6479700505CB}" dt="2021-03-24T18:05:47.650" v="1291" actId="20577"/>
          <ac:spMkLst>
            <pc:docMk/>
            <pc:sldMk cId="1524639244" sldId="921"/>
            <ac:spMk id="3" creationId="{9FA71A85-160A-4CFF-9241-BA71D421B86B}"/>
          </ac:spMkLst>
        </pc:spChg>
      </pc:sldChg>
      <pc:sldChg chg="addSp delSp modSp add mod ord setBg">
        <pc:chgData name="christophe CHUECOS-FONT" userId="7e57acaa-4bc6-4644-8edc-0ecdded28594" providerId="ADAL" clId="{AEC8F169-53EF-477E-AA87-6479700505CB}" dt="2021-03-26T11:24:42.452" v="1571" actId="26606"/>
        <pc:sldMkLst>
          <pc:docMk/>
          <pc:sldMk cId="1716390056" sldId="922"/>
        </pc:sldMkLst>
        <pc:spChg chg="mod">
          <ac:chgData name="christophe CHUECOS-FONT" userId="7e57acaa-4bc6-4644-8edc-0ecdded28594" providerId="ADAL" clId="{AEC8F169-53EF-477E-AA87-6479700505CB}" dt="2021-03-26T11:24:42.452" v="1571" actId="26606"/>
          <ac:spMkLst>
            <pc:docMk/>
            <pc:sldMk cId="1716390056" sldId="922"/>
            <ac:spMk id="2" creationId="{41644713-AF21-4543-94FE-A96FEBAA2B11}"/>
          </ac:spMkLst>
        </pc:spChg>
        <pc:spChg chg="add del mod">
          <ac:chgData name="christophe CHUECOS-FONT" userId="7e57acaa-4bc6-4644-8edc-0ecdded28594" providerId="ADAL" clId="{AEC8F169-53EF-477E-AA87-6479700505CB}" dt="2021-03-26T11:13:44.225" v="1358"/>
          <ac:spMkLst>
            <pc:docMk/>
            <pc:sldMk cId="1716390056" sldId="922"/>
            <ac:spMk id="4" creationId="{0D0175D9-7734-4988-9225-21F35DEF1E20}"/>
          </ac:spMkLst>
        </pc:spChg>
        <pc:spChg chg="add">
          <ac:chgData name="christophe CHUECOS-FONT" userId="7e57acaa-4bc6-4644-8edc-0ecdded28594" providerId="ADAL" clId="{AEC8F169-53EF-477E-AA87-6479700505CB}" dt="2021-03-26T11:24:42.452" v="1571" actId="26606"/>
          <ac:spMkLst>
            <pc:docMk/>
            <pc:sldMk cId="1716390056" sldId="922"/>
            <ac:spMk id="7" creationId="{D12DDE76-C203-4047-9998-63900085B5E8}"/>
          </ac:spMkLst>
        </pc:spChg>
        <pc:spChg chg="add del">
          <ac:chgData name="christophe CHUECOS-FONT" userId="7e57acaa-4bc6-4644-8edc-0ecdded28594" providerId="ADAL" clId="{AEC8F169-53EF-477E-AA87-6479700505CB}" dt="2021-03-26T11:24:18.664" v="1568" actId="26606"/>
          <ac:spMkLst>
            <pc:docMk/>
            <pc:sldMk cId="1716390056" sldId="922"/>
            <ac:spMk id="10" creationId="{96918796-2918-40D6-BE3A-4600C47FCD42}"/>
          </ac:spMkLst>
        </pc:spChg>
        <pc:graphicFrameChg chg="add mod modGraphic">
          <ac:chgData name="christophe CHUECOS-FONT" userId="7e57acaa-4bc6-4644-8edc-0ecdded28594" providerId="ADAL" clId="{AEC8F169-53EF-477E-AA87-6479700505CB}" dt="2021-03-26T11:24:42.452" v="1571" actId="26606"/>
          <ac:graphicFrameMkLst>
            <pc:docMk/>
            <pc:sldMk cId="1716390056" sldId="922"/>
            <ac:graphicFrameMk id="5" creationId="{9BF48972-D5B8-45E7-B42C-BD25881C0337}"/>
          </ac:graphicFrameMkLst>
        </pc:graphicFrameChg>
        <pc:graphicFrameChg chg="del">
          <ac:chgData name="christophe CHUECOS-FONT" userId="7e57acaa-4bc6-4644-8edc-0ecdded28594" providerId="ADAL" clId="{AEC8F169-53EF-477E-AA87-6479700505CB}" dt="2021-03-26T11:13:41.281" v="1357" actId="478"/>
          <ac:graphicFrameMkLst>
            <pc:docMk/>
            <pc:sldMk cId="1716390056" sldId="922"/>
            <ac:graphicFrameMk id="9" creationId="{28197CF5-4A66-4B20-AD59-453DC110C409}"/>
          </ac:graphicFrameMkLst>
        </pc:graphicFrameChg>
      </pc:sldChg>
      <pc:sldChg chg="addSp modSp add mod">
        <pc:chgData name="christophe CHUECOS-FONT" userId="7e57acaa-4bc6-4644-8edc-0ecdded28594" providerId="ADAL" clId="{AEC8F169-53EF-477E-AA87-6479700505CB}" dt="2021-03-26T12:04:33.974" v="1951" actId="14100"/>
        <pc:sldMkLst>
          <pc:docMk/>
          <pc:sldMk cId="1401124455" sldId="923"/>
        </pc:sldMkLst>
        <pc:spChg chg="mod">
          <ac:chgData name="christophe CHUECOS-FONT" userId="7e57acaa-4bc6-4644-8edc-0ecdded28594" providerId="ADAL" clId="{AEC8F169-53EF-477E-AA87-6479700505CB}" dt="2021-03-26T12:03:43.077" v="1944" actId="20577"/>
          <ac:spMkLst>
            <pc:docMk/>
            <pc:sldMk cId="1401124455" sldId="923"/>
            <ac:spMk id="2" creationId="{AEFCB68E-E041-4E46-A233-3C2208DA32CB}"/>
          </ac:spMkLst>
        </pc:spChg>
        <pc:spChg chg="mod">
          <ac:chgData name="christophe CHUECOS-FONT" userId="7e57acaa-4bc6-4644-8edc-0ecdded28594" providerId="ADAL" clId="{AEC8F169-53EF-477E-AA87-6479700505CB}" dt="2021-03-26T12:04:33.974" v="1951" actId="14100"/>
          <ac:spMkLst>
            <pc:docMk/>
            <pc:sldMk cId="1401124455" sldId="923"/>
            <ac:spMk id="3" creationId="{9FA71A85-160A-4CFF-9241-BA71D421B86B}"/>
          </ac:spMkLst>
        </pc:spChg>
        <pc:graphicFrameChg chg="add mod modGraphic">
          <ac:chgData name="christophe CHUECOS-FONT" userId="7e57acaa-4bc6-4644-8edc-0ecdded28594" providerId="ADAL" clId="{AEC8F169-53EF-477E-AA87-6479700505CB}" dt="2021-03-26T12:03:38.372" v="1938" actId="14100"/>
          <ac:graphicFrameMkLst>
            <pc:docMk/>
            <pc:sldMk cId="1401124455" sldId="923"/>
            <ac:graphicFrameMk id="4" creationId="{EF0C9E3E-CA63-4010-B8D8-7587302885EA}"/>
          </ac:graphicFrameMkLst>
        </pc:graphicFrameChg>
      </pc:sldChg>
      <pc:sldChg chg="addSp delSp modSp add mod ord">
        <pc:chgData name="christophe CHUECOS-FONT" userId="7e57acaa-4bc6-4644-8edc-0ecdded28594" providerId="ADAL" clId="{AEC8F169-53EF-477E-AA87-6479700505CB}" dt="2021-03-26T11:18:11.596" v="1477" actId="20577"/>
        <pc:sldMkLst>
          <pc:docMk/>
          <pc:sldMk cId="3048182326" sldId="924"/>
        </pc:sldMkLst>
        <pc:spChg chg="mod">
          <ac:chgData name="christophe CHUECOS-FONT" userId="7e57acaa-4bc6-4644-8edc-0ecdded28594" providerId="ADAL" clId="{AEC8F169-53EF-477E-AA87-6479700505CB}" dt="2021-03-26T11:18:11.596" v="1477" actId="20577"/>
          <ac:spMkLst>
            <pc:docMk/>
            <pc:sldMk cId="3048182326" sldId="924"/>
            <ac:spMk id="2" creationId="{41644713-AF21-4543-94FE-A96FEBAA2B11}"/>
          </ac:spMkLst>
        </pc:spChg>
        <pc:spChg chg="add del mod">
          <ac:chgData name="christophe CHUECOS-FONT" userId="7e57acaa-4bc6-4644-8edc-0ecdded28594" providerId="ADAL" clId="{AEC8F169-53EF-477E-AA87-6479700505CB}" dt="2021-03-26T11:16:56.407" v="1448"/>
          <ac:spMkLst>
            <pc:docMk/>
            <pc:sldMk cId="3048182326" sldId="924"/>
            <ac:spMk id="4" creationId="{4435F714-6ED2-4F30-BDE3-781432B3A9B5}"/>
          </ac:spMkLst>
        </pc:spChg>
        <pc:graphicFrameChg chg="del mod modGraphic">
          <ac:chgData name="christophe CHUECOS-FONT" userId="7e57acaa-4bc6-4644-8edc-0ecdded28594" providerId="ADAL" clId="{AEC8F169-53EF-477E-AA87-6479700505CB}" dt="2021-03-26T11:16:43.538" v="1447" actId="21"/>
          <ac:graphicFrameMkLst>
            <pc:docMk/>
            <pc:sldMk cId="3048182326" sldId="924"/>
            <ac:graphicFrameMk id="5" creationId="{9BF48972-D5B8-45E7-B42C-BD25881C0337}"/>
          </ac:graphicFrameMkLst>
        </pc:graphicFrameChg>
        <pc:graphicFrameChg chg="add mod modGraphic">
          <ac:chgData name="christophe CHUECOS-FONT" userId="7e57acaa-4bc6-4644-8edc-0ecdded28594" providerId="ADAL" clId="{AEC8F169-53EF-477E-AA87-6479700505CB}" dt="2021-03-26T11:17:47.859" v="1463" actId="14100"/>
          <ac:graphicFrameMkLst>
            <pc:docMk/>
            <pc:sldMk cId="3048182326" sldId="924"/>
            <ac:graphicFrameMk id="6" creationId="{F2815B00-360C-44B8-B762-E288FAA7878C}"/>
          </ac:graphicFrameMkLst>
        </pc:graphicFrameChg>
        <pc:graphicFrameChg chg="add mod modGraphic">
          <ac:chgData name="christophe CHUECOS-FONT" userId="7e57acaa-4bc6-4644-8edc-0ecdded28594" providerId="ADAL" clId="{AEC8F169-53EF-477E-AA87-6479700505CB}" dt="2021-03-26T11:17:56.258" v="1466" actId="14100"/>
          <ac:graphicFrameMkLst>
            <pc:docMk/>
            <pc:sldMk cId="3048182326" sldId="924"/>
            <ac:graphicFrameMk id="7" creationId="{7D46C06A-F446-4379-B147-3AA7F8596C61}"/>
          </ac:graphicFrameMkLst>
        </pc:graphicFrameChg>
      </pc:sldChg>
      <pc:sldChg chg="addSp delSp modSp add mod">
        <pc:chgData name="christophe CHUECOS-FONT" userId="7e57acaa-4bc6-4644-8edc-0ecdded28594" providerId="ADAL" clId="{AEC8F169-53EF-477E-AA87-6479700505CB}" dt="2021-03-26T11:22:03.450" v="1530" actId="20577"/>
        <pc:sldMkLst>
          <pc:docMk/>
          <pc:sldMk cId="365847107" sldId="925"/>
        </pc:sldMkLst>
        <pc:spChg chg="mod">
          <ac:chgData name="christophe CHUECOS-FONT" userId="7e57acaa-4bc6-4644-8edc-0ecdded28594" providerId="ADAL" clId="{AEC8F169-53EF-477E-AA87-6479700505CB}" dt="2021-03-26T11:22:03.450" v="1530" actId="20577"/>
          <ac:spMkLst>
            <pc:docMk/>
            <pc:sldMk cId="365847107" sldId="925"/>
            <ac:spMk id="2" creationId="{41644713-AF21-4543-94FE-A96FEBAA2B11}"/>
          </ac:spMkLst>
        </pc:spChg>
        <pc:spChg chg="add del mod">
          <ac:chgData name="christophe CHUECOS-FONT" userId="7e57acaa-4bc6-4644-8edc-0ecdded28594" providerId="ADAL" clId="{AEC8F169-53EF-477E-AA87-6479700505CB}" dt="2021-03-26T11:19:02.923" v="1483"/>
          <ac:spMkLst>
            <pc:docMk/>
            <pc:sldMk cId="365847107" sldId="925"/>
            <ac:spMk id="4" creationId="{8B00AF06-D371-4FA6-AD77-63B81C61085F}"/>
          </ac:spMkLst>
        </pc:spChg>
        <pc:spChg chg="add mod">
          <ac:chgData name="christophe CHUECOS-FONT" userId="7e57acaa-4bc6-4644-8edc-0ecdded28594" providerId="ADAL" clId="{AEC8F169-53EF-477E-AA87-6479700505CB}" dt="2021-03-26T11:21:50.747" v="1510" actId="1076"/>
          <ac:spMkLst>
            <pc:docMk/>
            <pc:sldMk cId="365847107" sldId="925"/>
            <ac:spMk id="11" creationId="{0CD87A97-CB5C-4428-866E-41CD9018796B}"/>
          </ac:spMkLst>
        </pc:spChg>
        <pc:graphicFrameChg chg="add mod modGraphic">
          <ac:chgData name="christophe CHUECOS-FONT" userId="7e57acaa-4bc6-4644-8edc-0ecdded28594" providerId="ADAL" clId="{AEC8F169-53EF-477E-AA87-6479700505CB}" dt="2021-03-26T11:20:29.753" v="1508" actId="14100"/>
          <ac:graphicFrameMkLst>
            <pc:docMk/>
            <pc:sldMk cId="365847107" sldId="925"/>
            <ac:graphicFrameMk id="5" creationId="{E3D353A5-D217-4E5D-9E6B-6FBB1EE8BFA3}"/>
          </ac:graphicFrameMkLst>
        </pc:graphicFrameChg>
        <pc:graphicFrameChg chg="del modGraphic">
          <ac:chgData name="christophe CHUECOS-FONT" userId="7e57acaa-4bc6-4644-8edc-0ecdded28594" providerId="ADAL" clId="{AEC8F169-53EF-477E-AA87-6479700505CB}" dt="2021-03-26T11:18:50.814" v="1481" actId="21"/>
          <ac:graphicFrameMkLst>
            <pc:docMk/>
            <pc:sldMk cId="365847107" sldId="925"/>
            <ac:graphicFrameMk id="6" creationId="{F2815B00-360C-44B8-B762-E288FAA7878C}"/>
          </ac:graphicFrameMkLst>
        </pc:graphicFrameChg>
        <pc:graphicFrameChg chg="del">
          <ac:chgData name="christophe CHUECOS-FONT" userId="7e57acaa-4bc6-4644-8edc-0ecdded28594" providerId="ADAL" clId="{AEC8F169-53EF-477E-AA87-6479700505CB}" dt="2021-03-26T11:18:55.387" v="1482" actId="21"/>
          <ac:graphicFrameMkLst>
            <pc:docMk/>
            <pc:sldMk cId="365847107" sldId="925"/>
            <ac:graphicFrameMk id="7" creationId="{7D46C06A-F446-4379-B147-3AA7F8596C61}"/>
          </ac:graphicFrameMkLst>
        </pc:graphicFrameChg>
        <pc:graphicFrameChg chg="add mod modGraphic">
          <ac:chgData name="christophe CHUECOS-FONT" userId="7e57acaa-4bc6-4644-8edc-0ecdded28594" providerId="ADAL" clId="{AEC8F169-53EF-477E-AA87-6479700505CB}" dt="2021-03-26T11:20:13.913" v="1506" actId="1076"/>
          <ac:graphicFrameMkLst>
            <pc:docMk/>
            <pc:sldMk cId="365847107" sldId="925"/>
            <ac:graphicFrameMk id="8" creationId="{E85F6702-FDE4-47A0-9113-8DC4311CF553}"/>
          </ac:graphicFrameMkLst>
        </pc:graphicFrameChg>
        <pc:graphicFrameChg chg="add mod modGraphic">
          <ac:chgData name="christophe CHUECOS-FONT" userId="7e57acaa-4bc6-4644-8edc-0ecdded28594" providerId="ADAL" clId="{AEC8F169-53EF-477E-AA87-6479700505CB}" dt="2021-03-26T11:20:18.473" v="1507" actId="1076"/>
          <ac:graphicFrameMkLst>
            <pc:docMk/>
            <pc:sldMk cId="365847107" sldId="925"/>
            <ac:graphicFrameMk id="9" creationId="{39C88741-5267-4FA2-AA52-932B0634D138}"/>
          </ac:graphicFrameMkLst>
        </pc:graphicFrameChg>
      </pc:sldChg>
      <pc:sldChg chg="addSp delSp modSp add mod ord">
        <pc:chgData name="christophe CHUECOS-FONT" userId="7e57acaa-4bc6-4644-8edc-0ecdded28594" providerId="ADAL" clId="{AEC8F169-53EF-477E-AA87-6479700505CB}" dt="2021-03-26T11:27:34.749" v="1636" actId="255"/>
        <pc:sldMkLst>
          <pc:docMk/>
          <pc:sldMk cId="4193262036" sldId="926"/>
        </pc:sldMkLst>
        <pc:spChg chg="add del">
          <ac:chgData name="christophe CHUECOS-FONT" userId="7e57acaa-4bc6-4644-8edc-0ecdded28594" providerId="ADAL" clId="{AEC8F169-53EF-477E-AA87-6479700505CB}" dt="2021-03-26T11:25:07.375" v="1573" actId="22"/>
          <ac:spMkLst>
            <pc:docMk/>
            <pc:sldMk cId="4193262036" sldId="926"/>
            <ac:spMk id="5" creationId="{0F487055-DB48-42BC-934E-9648CB72D240}"/>
          </ac:spMkLst>
        </pc:spChg>
        <pc:spChg chg="add del mod">
          <ac:chgData name="christophe CHUECOS-FONT" userId="7e57acaa-4bc6-4644-8edc-0ecdded28594" providerId="ADAL" clId="{AEC8F169-53EF-477E-AA87-6479700505CB}" dt="2021-03-26T11:27:20.087" v="1634" actId="21"/>
          <ac:spMkLst>
            <pc:docMk/>
            <pc:sldMk cId="4193262036" sldId="926"/>
            <ac:spMk id="6" creationId="{372C388E-5506-4B6E-BCE7-09F78BABACA9}"/>
          </ac:spMkLst>
        </pc:spChg>
        <pc:spChg chg="add del mod">
          <ac:chgData name="christophe CHUECOS-FONT" userId="7e57acaa-4bc6-4644-8edc-0ecdded28594" providerId="ADAL" clId="{AEC8F169-53EF-477E-AA87-6479700505CB}" dt="2021-03-26T11:26:26.546" v="1625"/>
          <ac:spMkLst>
            <pc:docMk/>
            <pc:sldMk cId="4193262036" sldId="926"/>
            <ac:spMk id="8" creationId="{91BDBCF7-93FA-41A1-81B1-F8C1C25EFC28}"/>
          </ac:spMkLst>
        </pc:spChg>
        <pc:graphicFrameChg chg="del mod modGraphic">
          <ac:chgData name="christophe CHUECOS-FONT" userId="7e57acaa-4bc6-4644-8edc-0ecdded28594" providerId="ADAL" clId="{AEC8F169-53EF-477E-AA87-6479700505CB}" dt="2021-03-26T11:26:09.916" v="1624" actId="21"/>
          <ac:graphicFrameMkLst>
            <pc:docMk/>
            <pc:sldMk cId="4193262036" sldId="926"/>
            <ac:graphicFrameMk id="4" creationId="{87A75930-C904-4BA5-8DC2-25CEE7078240}"/>
          </ac:graphicFrameMkLst>
        </pc:graphicFrameChg>
        <pc:graphicFrameChg chg="add mod modGraphic">
          <ac:chgData name="christophe CHUECOS-FONT" userId="7e57acaa-4bc6-4644-8edc-0ecdded28594" providerId="ADAL" clId="{AEC8F169-53EF-477E-AA87-6479700505CB}" dt="2021-03-26T11:27:34.749" v="1636" actId="255"/>
          <ac:graphicFrameMkLst>
            <pc:docMk/>
            <pc:sldMk cId="4193262036" sldId="926"/>
            <ac:graphicFrameMk id="9" creationId="{6435B9A9-5D3A-475B-822D-7D0FAE516D70}"/>
          </ac:graphicFrameMkLst>
        </pc:graphicFrameChg>
      </pc:sldChg>
      <pc:sldChg chg="addSp delSp modSp new mod setBg">
        <pc:chgData name="christophe CHUECOS-FONT" userId="7e57acaa-4bc6-4644-8edc-0ecdded28594" providerId="ADAL" clId="{AEC8F169-53EF-477E-AA87-6479700505CB}" dt="2021-03-26T11:29:51.331" v="1682" actId="20577"/>
        <pc:sldMkLst>
          <pc:docMk/>
          <pc:sldMk cId="792487541" sldId="927"/>
        </pc:sldMkLst>
        <pc:spChg chg="mod">
          <ac:chgData name="christophe CHUECOS-FONT" userId="7e57acaa-4bc6-4644-8edc-0ecdded28594" providerId="ADAL" clId="{AEC8F169-53EF-477E-AA87-6479700505CB}" dt="2021-03-26T11:29:42.474" v="1681" actId="26606"/>
          <ac:spMkLst>
            <pc:docMk/>
            <pc:sldMk cId="792487541" sldId="927"/>
            <ac:spMk id="2" creationId="{AA62327D-CC9C-4792-B7E8-29C31DAC8F00}"/>
          </ac:spMkLst>
        </pc:spChg>
        <pc:spChg chg="del">
          <ac:chgData name="christophe CHUECOS-FONT" userId="7e57acaa-4bc6-4644-8edc-0ecdded28594" providerId="ADAL" clId="{AEC8F169-53EF-477E-AA87-6479700505CB}" dt="2021-03-26T11:27:51.930" v="1638"/>
          <ac:spMkLst>
            <pc:docMk/>
            <pc:sldMk cId="792487541" sldId="927"/>
            <ac:spMk id="3" creationId="{AADDF749-2234-4B13-AD8B-7B6C0F99663D}"/>
          </ac:spMkLst>
        </pc:spChg>
        <pc:spChg chg="add mod">
          <ac:chgData name="christophe CHUECOS-FONT" userId="7e57acaa-4bc6-4644-8edc-0ecdded28594" providerId="ADAL" clId="{AEC8F169-53EF-477E-AA87-6479700505CB}" dt="2021-03-26T11:29:42.474" v="1681" actId="26606"/>
          <ac:spMkLst>
            <pc:docMk/>
            <pc:sldMk cId="792487541" sldId="927"/>
            <ac:spMk id="6" creationId="{279EEEBF-E3F2-440C-8618-5C1FFADB88D0}"/>
          </ac:spMkLst>
        </pc:spChg>
        <pc:spChg chg="add">
          <ac:chgData name="christophe CHUECOS-FONT" userId="7e57acaa-4bc6-4644-8edc-0ecdded28594" providerId="ADAL" clId="{AEC8F169-53EF-477E-AA87-6479700505CB}" dt="2021-03-26T11:29:42.474" v="1681" actId="26606"/>
          <ac:spMkLst>
            <pc:docMk/>
            <pc:sldMk cId="792487541" sldId="927"/>
            <ac:spMk id="11" creationId="{32AEEBC8-9D30-42EF-95F2-386C2653FBF0}"/>
          </ac:spMkLst>
        </pc:spChg>
        <pc:spChg chg="add">
          <ac:chgData name="christophe CHUECOS-FONT" userId="7e57acaa-4bc6-4644-8edc-0ecdded28594" providerId="ADAL" clId="{AEC8F169-53EF-477E-AA87-6479700505CB}" dt="2021-03-26T11:29:42.474" v="1681" actId="26606"/>
          <ac:spMkLst>
            <pc:docMk/>
            <pc:sldMk cId="792487541" sldId="927"/>
            <ac:spMk id="13" creationId="{3529E97A-97C3-40EA-8A04-5C02398D568F}"/>
          </ac:spMkLst>
        </pc:spChg>
        <pc:spChg chg="add">
          <ac:chgData name="christophe CHUECOS-FONT" userId="7e57acaa-4bc6-4644-8edc-0ecdded28594" providerId="ADAL" clId="{AEC8F169-53EF-477E-AA87-6479700505CB}" dt="2021-03-26T11:29:42.474" v="1681" actId="26606"/>
          <ac:spMkLst>
            <pc:docMk/>
            <pc:sldMk cId="792487541" sldId="927"/>
            <ac:spMk id="15" creationId="{59FA8C2E-A5A7-4490-927A-7CD58343EDBB}"/>
          </ac:spMkLst>
        </pc:spChg>
        <pc:graphicFrameChg chg="add mod ord modGraphic">
          <ac:chgData name="christophe CHUECOS-FONT" userId="7e57acaa-4bc6-4644-8edc-0ecdded28594" providerId="ADAL" clId="{AEC8F169-53EF-477E-AA87-6479700505CB}" dt="2021-03-26T11:29:51.331" v="1682" actId="20577"/>
          <ac:graphicFrameMkLst>
            <pc:docMk/>
            <pc:sldMk cId="792487541" sldId="927"/>
            <ac:graphicFrameMk id="4" creationId="{4CE403B7-C723-4D1B-893F-C88CD88819A5}"/>
          </ac:graphicFrameMkLst>
        </pc:graphicFrameChg>
      </pc:sldChg>
      <pc:sldChg chg="modSp add mod ord">
        <pc:chgData name="christophe CHUECOS-FONT" userId="7e57acaa-4bc6-4644-8edc-0ecdded28594" providerId="ADAL" clId="{AEC8F169-53EF-477E-AA87-6479700505CB}" dt="2021-03-26T11:47:26.674" v="1693" actId="20577"/>
        <pc:sldMkLst>
          <pc:docMk/>
          <pc:sldMk cId="1603699342" sldId="928"/>
        </pc:sldMkLst>
        <pc:spChg chg="mod">
          <ac:chgData name="christophe CHUECOS-FONT" userId="7e57acaa-4bc6-4644-8edc-0ecdded28594" providerId="ADAL" clId="{AEC8F169-53EF-477E-AA87-6479700505CB}" dt="2021-03-26T11:47:26.674" v="1693" actId="20577"/>
          <ac:spMkLst>
            <pc:docMk/>
            <pc:sldMk cId="1603699342" sldId="928"/>
            <ac:spMk id="5" creationId="{DFEA2082-E7DE-4453-8158-54F380B94285}"/>
          </ac:spMkLst>
        </pc:spChg>
      </pc:sldChg>
      <pc:sldChg chg="addSp delSp modSp add mod ord">
        <pc:chgData name="christophe CHUECOS-FONT" userId="7e57acaa-4bc6-4644-8edc-0ecdded28594" providerId="ADAL" clId="{AEC8F169-53EF-477E-AA87-6479700505CB}" dt="2021-03-26T11:49:41.533" v="1734" actId="20577"/>
        <pc:sldMkLst>
          <pc:docMk/>
          <pc:sldMk cId="838034858" sldId="929"/>
        </pc:sldMkLst>
        <pc:spChg chg="mod">
          <ac:chgData name="christophe CHUECOS-FONT" userId="7e57acaa-4bc6-4644-8edc-0ecdded28594" providerId="ADAL" clId="{AEC8F169-53EF-477E-AA87-6479700505CB}" dt="2021-03-26T11:49:41.533" v="1734" actId="20577"/>
          <ac:spMkLst>
            <pc:docMk/>
            <pc:sldMk cId="838034858" sldId="929"/>
            <ac:spMk id="2" creationId="{41644713-AF21-4543-94FE-A96FEBAA2B11}"/>
          </ac:spMkLst>
        </pc:spChg>
        <pc:spChg chg="add del mod">
          <ac:chgData name="christophe CHUECOS-FONT" userId="7e57acaa-4bc6-4644-8edc-0ecdded28594" providerId="ADAL" clId="{AEC8F169-53EF-477E-AA87-6479700505CB}" dt="2021-03-26T11:47:53.932" v="1701"/>
          <ac:spMkLst>
            <pc:docMk/>
            <pc:sldMk cId="838034858" sldId="929"/>
            <ac:spMk id="4" creationId="{3133D820-6085-4470-85A7-9B9F5D43FE73}"/>
          </ac:spMkLst>
        </pc:spChg>
        <pc:spChg chg="add mod">
          <ac:chgData name="christophe CHUECOS-FONT" userId="7e57acaa-4bc6-4644-8edc-0ecdded28594" providerId="ADAL" clId="{AEC8F169-53EF-477E-AA87-6479700505CB}" dt="2021-03-26T11:48:46.751" v="1710" actId="255"/>
          <ac:spMkLst>
            <pc:docMk/>
            <pc:sldMk cId="838034858" sldId="929"/>
            <ac:spMk id="9" creationId="{386674B8-23E5-4776-9065-5B640B3F8F6F}"/>
          </ac:spMkLst>
        </pc:spChg>
        <pc:graphicFrameChg chg="add mod modGraphic">
          <ac:chgData name="christophe CHUECOS-FONT" userId="7e57acaa-4bc6-4644-8edc-0ecdded28594" providerId="ADAL" clId="{AEC8F169-53EF-477E-AA87-6479700505CB}" dt="2021-03-26T11:48:19.924" v="1706" actId="255"/>
          <ac:graphicFrameMkLst>
            <pc:docMk/>
            <pc:sldMk cId="838034858" sldId="929"/>
            <ac:graphicFrameMk id="5" creationId="{45F626AC-1F44-4757-B4FD-077685C39AC0}"/>
          </ac:graphicFrameMkLst>
        </pc:graphicFrameChg>
        <pc:graphicFrameChg chg="del modGraphic">
          <ac:chgData name="christophe CHUECOS-FONT" userId="7e57acaa-4bc6-4644-8edc-0ecdded28594" providerId="ADAL" clId="{AEC8F169-53EF-477E-AA87-6479700505CB}" dt="2021-03-26T11:47:43.455" v="1699" actId="21"/>
          <ac:graphicFrameMkLst>
            <pc:docMk/>
            <pc:sldMk cId="838034858" sldId="929"/>
            <ac:graphicFrameMk id="6" creationId="{F2815B00-360C-44B8-B762-E288FAA7878C}"/>
          </ac:graphicFrameMkLst>
        </pc:graphicFrameChg>
        <pc:graphicFrameChg chg="del">
          <ac:chgData name="christophe CHUECOS-FONT" userId="7e57acaa-4bc6-4644-8edc-0ecdded28594" providerId="ADAL" clId="{AEC8F169-53EF-477E-AA87-6479700505CB}" dt="2021-03-26T11:47:46.129" v="1700" actId="21"/>
          <ac:graphicFrameMkLst>
            <pc:docMk/>
            <pc:sldMk cId="838034858" sldId="929"/>
            <ac:graphicFrameMk id="7" creationId="{7D46C06A-F446-4379-B147-3AA7F8596C61}"/>
          </ac:graphicFrameMkLst>
        </pc:graphicFrameChg>
        <pc:graphicFrameChg chg="add mod modGraphic">
          <ac:chgData name="christophe CHUECOS-FONT" userId="7e57acaa-4bc6-4644-8edc-0ecdded28594" providerId="ADAL" clId="{AEC8F169-53EF-477E-AA87-6479700505CB}" dt="2021-03-26T11:49:21.578" v="1715" actId="255"/>
          <ac:graphicFrameMkLst>
            <pc:docMk/>
            <pc:sldMk cId="838034858" sldId="929"/>
            <ac:graphicFrameMk id="10" creationId="{45AFCB1D-0726-4004-BD1A-A1FB07D0A7B7}"/>
          </ac:graphicFrameMkLst>
        </pc:graphicFrameChg>
      </pc:sldChg>
      <pc:sldChg chg="addSp modSp new mod">
        <pc:chgData name="christophe CHUECOS-FONT" userId="7e57acaa-4bc6-4644-8edc-0ecdded28594" providerId="ADAL" clId="{AEC8F169-53EF-477E-AA87-6479700505CB}" dt="2021-03-26T11:50:52.133" v="1764" actId="20577"/>
        <pc:sldMkLst>
          <pc:docMk/>
          <pc:sldMk cId="2778287842" sldId="930"/>
        </pc:sldMkLst>
        <pc:spChg chg="mod">
          <ac:chgData name="christophe CHUECOS-FONT" userId="7e57acaa-4bc6-4644-8edc-0ecdded28594" providerId="ADAL" clId="{AEC8F169-53EF-477E-AA87-6479700505CB}" dt="2021-03-26T11:50:52.133" v="1764" actId="20577"/>
          <ac:spMkLst>
            <pc:docMk/>
            <pc:sldMk cId="2778287842" sldId="930"/>
            <ac:spMk id="2" creationId="{391A997B-66BC-4EE8-AE60-BABCAC88813D}"/>
          </ac:spMkLst>
        </pc:spChg>
        <pc:spChg chg="mod">
          <ac:chgData name="christophe CHUECOS-FONT" userId="7e57acaa-4bc6-4644-8edc-0ecdded28594" providerId="ADAL" clId="{AEC8F169-53EF-477E-AA87-6479700505CB}" dt="2021-03-26T11:50:36.117" v="1749" actId="27636"/>
          <ac:spMkLst>
            <pc:docMk/>
            <pc:sldMk cId="2778287842" sldId="930"/>
            <ac:spMk id="3" creationId="{14AABC54-2180-4F73-9948-B6849C5F71A0}"/>
          </ac:spMkLst>
        </pc:spChg>
        <pc:graphicFrameChg chg="add mod modGraphic">
          <ac:chgData name="christophe CHUECOS-FONT" userId="7e57acaa-4bc6-4644-8edc-0ecdded28594" providerId="ADAL" clId="{AEC8F169-53EF-477E-AA87-6479700505CB}" dt="2021-03-26T11:50:45.063" v="1750" actId="255"/>
          <ac:graphicFrameMkLst>
            <pc:docMk/>
            <pc:sldMk cId="2778287842" sldId="930"/>
            <ac:graphicFrameMk id="4" creationId="{862D9251-85CF-41C3-A48F-6E8A80B66710}"/>
          </ac:graphicFrameMkLst>
        </pc:graphicFrameChg>
      </pc:sldChg>
      <pc:sldChg chg="addSp delSp modSp new mod">
        <pc:chgData name="christophe CHUECOS-FONT" userId="7e57acaa-4bc6-4644-8edc-0ecdded28594" providerId="ADAL" clId="{AEC8F169-53EF-477E-AA87-6479700505CB}" dt="2021-03-26T11:54:42.955" v="1882" actId="6549"/>
        <pc:sldMkLst>
          <pc:docMk/>
          <pc:sldMk cId="3403650375" sldId="931"/>
        </pc:sldMkLst>
        <pc:spChg chg="mod">
          <ac:chgData name="christophe CHUECOS-FONT" userId="7e57acaa-4bc6-4644-8edc-0ecdded28594" providerId="ADAL" clId="{AEC8F169-53EF-477E-AA87-6479700505CB}" dt="2021-03-26T11:53:57.149" v="1851" actId="20577"/>
          <ac:spMkLst>
            <pc:docMk/>
            <pc:sldMk cId="3403650375" sldId="931"/>
            <ac:spMk id="2" creationId="{30CFB80B-948C-4DCD-B125-E01D1DE2DB4C}"/>
          </ac:spMkLst>
        </pc:spChg>
        <pc:spChg chg="add del">
          <ac:chgData name="christophe CHUECOS-FONT" userId="7e57acaa-4bc6-4644-8edc-0ecdded28594" providerId="ADAL" clId="{AEC8F169-53EF-477E-AA87-6479700505CB}" dt="2021-03-26T11:51:35.878" v="1770"/>
          <ac:spMkLst>
            <pc:docMk/>
            <pc:sldMk cId="3403650375" sldId="931"/>
            <ac:spMk id="3" creationId="{3108CF7B-9719-474E-86CA-D91D666CCB8C}"/>
          </ac:spMkLst>
        </pc:spChg>
        <pc:spChg chg="add del">
          <ac:chgData name="christophe CHUECOS-FONT" userId="7e57acaa-4bc6-4644-8edc-0ecdded28594" providerId="ADAL" clId="{AEC8F169-53EF-477E-AA87-6479700505CB}" dt="2021-03-26T11:51:22.469" v="1769"/>
          <ac:spMkLst>
            <pc:docMk/>
            <pc:sldMk cId="3403650375" sldId="931"/>
            <ac:spMk id="8" creationId="{B06B23A2-AB31-447D-8F99-D9669FD1C205}"/>
          </ac:spMkLst>
        </pc:spChg>
        <pc:spChg chg="add mod">
          <ac:chgData name="christophe CHUECOS-FONT" userId="7e57acaa-4bc6-4644-8edc-0ecdded28594" providerId="ADAL" clId="{AEC8F169-53EF-477E-AA87-6479700505CB}" dt="2021-03-26T11:51:41.858" v="1771" actId="1076"/>
          <ac:spMkLst>
            <pc:docMk/>
            <pc:sldMk cId="3403650375" sldId="931"/>
            <ac:spMk id="11" creationId="{C42D3E78-840F-4ECE-9036-7C20CD6B81EB}"/>
          </ac:spMkLst>
        </pc:spChg>
        <pc:spChg chg="add del mod">
          <ac:chgData name="christophe CHUECOS-FONT" userId="7e57acaa-4bc6-4644-8edc-0ecdded28594" providerId="ADAL" clId="{AEC8F169-53EF-477E-AA87-6479700505CB}" dt="2021-03-26T11:52:16.286" v="1776" actId="21"/>
          <ac:spMkLst>
            <pc:docMk/>
            <pc:sldMk cId="3403650375" sldId="931"/>
            <ac:spMk id="14" creationId="{1C156F43-4834-4CAE-AB3E-493BFFF8B3CE}"/>
          </ac:spMkLst>
        </pc:spChg>
        <pc:graphicFrameChg chg="add del mod">
          <ac:chgData name="christophe CHUECOS-FONT" userId="7e57acaa-4bc6-4644-8edc-0ecdded28594" providerId="ADAL" clId="{AEC8F169-53EF-477E-AA87-6479700505CB}" dt="2021-03-26T11:51:22.469" v="1769"/>
          <ac:graphicFrameMkLst>
            <pc:docMk/>
            <pc:sldMk cId="3403650375" sldId="931"/>
            <ac:graphicFrameMk id="4" creationId="{E885226C-D557-4CAF-9E8C-EF3864B2FE28}"/>
          </ac:graphicFrameMkLst>
        </pc:graphicFrameChg>
        <pc:graphicFrameChg chg="add del mod">
          <ac:chgData name="christophe CHUECOS-FONT" userId="7e57acaa-4bc6-4644-8edc-0ecdded28594" providerId="ADAL" clId="{AEC8F169-53EF-477E-AA87-6479700505CB}" dt="2021-03-26T11:51:22.469" v="1769"/>
          <ac:graphicFrameMkLst>
            <pc:docMk/>
            <pc:sldMk cId="3403650375" sldId="931"/>
            <ac:graphicFrameMk id="5" creationId="{7A33B6FB-79FC-4DC3-8837-9840EB016F1A}"/>
          </ac:graphicFrameMkLst>
        </pc:graphicFrameChg>
        <pc:graphicFrameChg chg="add del mod modGraphic">
          <ac:chgData name="christophe CHUECOS-FONT" userId="7e57acaa-4bc6-4644-8edc-0ecdded28594" providerId="ADAL" clId="{AEC8F169-53EF-477E-AA87-6479700505CB}" dt="2021-03-26T11:51:22.469" v="1769"/>
          <ac:graphicFrameMkLst>
            <pc:docMk/>
            <pc:sldMk cId="3403650375" sldId="931"/>
            <ac:graphicFrameMk id="6" creationId="{F053B3B1-DF7D-4FCC-BB66-6B33873F614C}"/>
          </ac:graphicFrameMkLst>
        </pc:graphicFrameChg>
        <pc:graphicFrameChg chg="add del mod">
          <ac:chgData name="christophe CHUECOS-FONT" userId="7e57acaa-4bc6-4644-8edc-0ecdded28594" providerId="ADAL" clId="{AEC8F169-53EF-477E-AA87-6479700505CB}" dt="2021-03-26T11:51:22.469" v="1769"/>
          <ac:graphicFrameMkLst>
            <pc:docMk/>
            <pc:sldMk cId="3403650375" sldId="931"/>
            <ac:graphicFrameMk id="7" creationId="{62C30E27-2727-42E5-8CCF-607B89546B8D}"/>
          </ac:graphicFrameMkLst>
        </pc:graphicFrameChg>
        <pc:graphicFrameChg chg="add mod modGraphic">
          <ac:chgData name="christophe CHUECOS-FONT" userId="7e57acaa-4bc6-4644-8edc-0ecdded28594" providerId="ADAL" clId="{AEC8F169-53EF-477E-AA87-6479700505CB}" dt="2021-03-26T11:54:12.423" v="1853" actId="14100"/>
          <ac:graphicFrameMkLst>
            <pc:docMk/>
            <pc:sldMk cId="3403650375" sldId="931"/>
            <ac:graphicFrameMk id="9" creationId="{1E747829-FA88-4678-8487-2DB53727F5E1}"/>
          </ac:graphicFrameMkLst>
        </pc:graphicFrameChg>
        <pc:graphicFrameChg chg="add mod modGraphic">
          <ac:chgData name="christophe CHUECOS-FONT" userId="7e57acaa-4bc6-4644-8edc-0ecdded28594" providerId="ADAL" clId="{AEC8F169-53EF-477E-AA87-6479700505CB}" dt="2021-03-26T11:53:38.663" v="1796" actId="14100"/>
          <ac:graphicFrameMkLst>
            <pc:docMk/>
            <pc:sldMk cId="3403650375" sldId="931"/>
            <ac:graphicFrameMk id="10" creationId="{53ACA630-92D7-4FD8-BDC2-8C5BCED2DC5F}"/>
          </ac:graphicFrameMkLst>
        </pc:graphicFrameChg>
        <pc:graphicFrameChg chg="add mod modGraphic">
          <ac:chgData name="christophe CHUECOS-FONT" userId="7e57acaa-4bc6-4644-8edc-0ecdded28594" providerId="ADAL" clId="{AEC8F169-53EF-477E-AA87-6479700505CB}" dt="2021-03-26T11:54:08.010" v="1852" actId="14100"/>
          <ac:graphicFrameMkLst>
            <pc:docMk/>
            <pc:sldMk cId="3403650375" sldId="931"/>
            <ac:graphicFrameMk id="12" creationId="{B371AD77-3665-4473-867C-0A5F047F0211}"/>
          </ac:graphicFrameMkLst>
        </pc:graphicFrameChg>
        <pc:graphicFrameChg chg="add del mod">
          <ac:chgData name="christophe CHUECOS-FONT" userId="7e57acaa-4bc6-4644-8edc-0ecdded28594" providerId="ADAL" clId="{AEC8F169-53EF-477E-AA87-6479700505CB}" dt="2021-03-26T11:52:16.286" v="1776" actId="21"/>
          <ac:graphicFrameMkLst>
            <pc:docMk/>
            <pc:sldMk cId="3403650375" sldId="931"/>
            <ac:graphicFrameMk id="13" creationId="{997058E9-154B-4EB9-A053-0F29EC30A7B1}"/>
          </ac:graphicFrameMkLst>
        </pc:graphicFrameChg>
        <pc:graphicFrameChg chg="add mod modGraphic">
          <ac:chgData name="christophe CHUECOS-FONT" userId="7e57acaa-4bc6-4644-8edc-0ecdded28594" providerId="ADAL" clId="{AEC8F169-53EF-477E-AA87-6479700505CB}" dt="2021-03-26T11:54:42.955" v="1882" actId="6549"/>
          <ac:graphicFrameMkLst>
            <pc:docMk/>
            <pc:sldMk cId="3403650375" sldId="931"/>
            <ac:graphicFrameMk id="15" creationId="{7F4B5347-7984-4237-AA38-6B1089BEDD49}"/>
          </ac:graphicFrameMkLst>
        </pc:graphicFrameChg>
      </pc:sldChg>
      <pc:sldChg chg="addSp delSp modSp new mod">
        <pc:chgData name="christophe CHUECOS-FONT" userId="7e57acaa-4bc6-4644-8edc-0ecdded28594" providerId="ADAL" clId="{AEC8F169-53EF-477E-AA87-6479700505CB}" dt="2021-03-26T11:58:58.031" v="1925" actId="14734"/>
        <pc:sldMkLst>
          <pc:docMk/>
          <pc:sldMk cId="908281077" sldId="932"/>
        </pc:sldMkLst>
        <pc:spChg chg="add del mod">
          <ac:chgData name="christophe CHUECOS-FONT" userId="7e57acaa-4bc6-4644-8edc-0ecdded28594" providerId="ADAL" clId="{AEC8F169-53EF-477E-AA87-6479700505CB}" dt="2021-03-26T11:58:01.780" v="1914" actId="21"/>
          <ac:spMkLst>
            <pc:docMk/>
            <pc:sldMk cId="908281077" sldId="932"/>
            <ac:spMk id="2" creationId="{F1FE80F6-6378-42DB-BBB8-CCDC7E6ADF9D}"/>
          </ac:spMkLst>
        </pc:spChg>
        <pc:spChg chg="del">
          <ac:chgData name="christophe CHUECOS-FONT" userId="7e57acaa-4bc6-4644-8edc-0ecdded28594" providerId="ADAL" clId="{AEC8F169-53EF-477E-AA87-6479700505CB}" dt="2021-03-26T11:55:10.439" v="1884"/>
          <ac:spMkLst>
            <pc:docMk/>
            <pc:sldMk cId="908281077" sldId="932"/>
            <ac:spMk id="3" creationId="{0D22CECA-B3B1-4778-965F-2363C457A0C0}"/>
          </ac:spMkLst>
        </pc:spChg>
        <pc:graphicFrameChg chg="add mod modGraphic">
          <ac:chgData name="christophe CHUECOS-FONT" userId="7e57acaa-4bc6-4644-8edc-0ecdded28594" providerId="ADAL" clId="{AEC8F169-53EF-477E-AA87-6479700505CB}" dt="2021-03-26T11:58:15.907" v="1919" actId="1076"/>
          <ac:graphicFrameMkLst>
            <pc:docMk/>
            <pc:sldMk cId="908281077" sldId="932"/>
            <ac:graphicFrameMk id="4" creationId="{DDEC20EB-3E45-48F3-BF9C-FB014B1CDC8D}"/>
          </ac:graphicFrameMkLst>
        </pc:graphicFrameChg>
        <pc:graphicFrameChg chg="add mod modGraphic">
          <ac:chgData name="christophe CHUECOS-FONT" userId="7e57acaa-4bc6-4644-8edc-0ecdded28594" providerId="ADAL" clId="{AEC8F169-53EF-477E-AA87-6479700505CB}" dt="2021-03-26T11:57:15.117" v="1906" actId="14100"/>
          <ac:graphicFrameMkLst>
            <pc:docMk/>
            <pc:sldMk cId="908281077" sldId="932"/>
            <ac:graphicFrameMk id="5" creationId="{003A891D-18A8-4F79-8035-4AF184220B4D}"/>
          </ac:graphicFrameMkLst>
        </pc:graphicFrameChg>
        <pc:graphicFrameChg chg="add mod modGraphic">
          <ac:chgData name="christophe CHUECOS-FONT" userId="7e57acaa-4bc6-4644-8edc-0ecdded28594" providerId="ADAL" clId="{AEC8F169-53EF-477E-AA87-6479700505CB}" dt="2021-03-26T11:58:11.086" v="1918" actId="1076"/>
          <ac:graphicFrameMkLst>
            <pc:docMk/>
            <pc:sldMk cId="908281077" sldId="932"/>
            <ac:graphicFrameMk id="6" creationId="{837B8EB3-3F8D-4B5F-80F8-A5F6DC2614B5}"/>
          </ac:graphicFrameMkLst>
        </pc:graphicFrameChg>
        <pc:graphicFrameChg chg="add mod modGraphic">
          <ac:chgData name="christophe CHUECOS-FONT" userId="7e57acaa-4bc6-4644-8edc-0ecdded28594" providerId="ADAL" clId="{AEC8F169-53EF-477E-AA87-6479700505CB}" dt="2021-03-26T11:58:58.031" v="1925" actId="14734"/>
          <ac:graphicFrameMkLst>
            <pc:docMk/>
            <pc:sldMk cId="908281077" sldId="932"/>
            <ac:graphicFrameMk id="7" creationId="{963F81F5-128B-4897-B5F8-13508D013333}"/>
          </ac:graphicFrameMkLst>
        </pc:graphicFrameChg>
        <pc:picChg chg="add mod">
          <ac:chgData name="christophe CHUECOS-FONT" userId="7e57acaa-4bc6-4644-8edc-0ecdded28594" providerId="ADAL" clId="{AEC8F169-53EF-477E-AA87-6479700505CB}" dt="2021-03-26T11:58:09.047" v="1917" actId="14100"/>
          <ac:picMkLst>
            <pc:docMk/>
            <pc:sldMk cId="908281077" sldId="932"/>
            <ac:picMk id="8" creationId="{5164A463-B201-4E44-BC57-FF454DE7CC4E}"/>
          </ac:picMkLst>
        </pc:picChg>
      </pc:sldChg>
      <pc:sldChg chg="addSp delSp modSp add mod">
        <pc:chgData name="christophe CHUECOS-FONT" userId="7e57acaa-4bc6-4644-8edc-0ecdded28594" providerId="ADAL" clId="{AEC8F169-53EF-477E-AA87-6479700505CB}" dt="2021-03-26T12:05:26.172" v="1958" actId="14100"/>
        <pc:sldMkLst>
          <pc:docMk/>
          <pc:sldMk cId="388731633" sldId="933"/>
        </pc:sldMkLst>
        <pc:graphicFrameChg chg="del mod modGraphic">
          <ac:chgData name="christophe CHUECOS-FONT" userId="7e57acaa-4bc6-4644-8edc-0ecdded28594" providerId="ADAL" clId="{AEC8F169-53EF-477E-AA87-6479700505CB}" dt="2021-03-26T12:05:09.913" v="1955" actId="21"/>
          <ac:graphicFrameMkLst>
            <pc:docMk/>
            <pc:sldMk cId="388731633" sldId="933"/>
            <ac:graphicFrameMk id="4" creationId="{EF0C9E3E-CA63-4010-B8D8-7587302885EA}"/>
          </ac:graphicFrameMkLst>
        </pc:graphicFrameChg>
        <pc:graphicFrameChg chg="add mod modGraphic">
          <ac:chgData name="christophe CHUECOS-FONT" userId="7e57acaa-4bc6-4644-8edc-0ecdded28594" providerId="ADAL" clId="{AEC8F169-53EF-477E-AA87-6479700505CB}" dt="2021-03-26T12:05:26.172" v="1958" actId="14100"/>
          <ac:graphicFrameMkLst>
            <pc:docMk/>
            <pc:sldMk cId="388731633" sldId="933"/>
            <ac:graphicFrameMk id="5" creationId="{36213E86-B02B-4398-B79E-9982F0B089DB}"/>
          </ac:graphicFrameMkLst>
        </pc:graphicFrameChg>
      </pc:sldChg>
      <pc:sldChg chg="addSp delSp modSp add mod">
        <pc:chgData name="christophe CHUECOS-FONT" userId="7e57acaa-4bc6-4644-8edc-0ecdded28594" providerId="ADAL" clId="{AEC8F169-53EF-477E-AA87-6479700505CB}" dt="2021-03-26T12:06:42.543" v="1970" actId="1076"/>
        <pc:sldMkLst>
          <pc:docMk/>
          <pc:sldMk cId="1994598111" sldId="934"/>
        </pc:sldMkLst>
        <pc:spChg chg="mod">
          <ac:chgData name="christophe CHUECOS-FONT" userId="7e57acaa-4bc6-4644-8edc-0ecdded28594" providerId="ADAL" clId="{AEC8F169-53EF-477E-AA87-6479700505CB}" dt="2021-03-26T12:06:42.543" v="1970" actId="1076"/>
          <ac:spMkLst>
            <pc:docMk/>
            <pc:sldMk cId="1994598111" sldId="934"/>
            <ac:spMk id="3" creationId="{9FA71A85-160A-4CFF-9241-BA71D421B86B}"/>
          </ac:spMkLst>
        </pc:spChg>
        <pc:graphicFrameChg chg="add mod modGraphic">
          <ac:chgData name="christophe CHUECOS-FONT" userId="7e57acaa-4bc6-4644-8edc-0ecdded28594" providerId="ADAL" clId="{AEC8F169-53EF-477E-AA87-6479700505CB}" dt="2021-03-26T12:06:38.970" v="1969" actId="1076"/>
          <ac:graphicFrameMkLst>
            <pc:docMk/>
            <pc:sldMk cId="1994598111" sldId="934"/>
            <ac:graphicFrameMk id="4" creationId="{C17C8142-82CE-49F7-8FAD-961B88248BB6}"/>
          </ac:graphicFrameMkLst>
        </pc:graphicFrameChg>
        <pc:graphicFrameChg chg="del">
          <ac:chgData name="christophe CHUECOS-FONT" userId="7e57acaa-4bc6-4644-8edc-0ecdded28594" providerId="ADAL" clId="{AEC8F169-53EF-477E-AA87-6479700505CB}" dt="2021-03-26T12:05:46.149" v="1962" actId="21"/>
          <ac:graphicFrameMkLst>
            <pc:docMk/>
            <pc:sldMk cId="1994598111" sldId="934"/>
            <ac:graphicFrameMk id="5" creationId="{36213E86-B02B-4398-B79E-9982F0B089DB}"/>
          </ac:graphicFrameMkLst>
        </pc:graphicFrameChg>
      </pc:sldChg>
      <pc:sldChg chg="addSp delSp modSp add mod ord">
        <pc:chgData name="christophe CHUECOS-FONT" userId="7e57acaa-4bc6-4644-8edc-0ecdded28594" providerId="ADAL" clId="{AEC8F169-53EF-477E-AA87-6479700505CB}" dt="2021-03-26T12:07:16.791" v="1978" actId="255"/>
        <pc:sldMkLst>
          <pc:docMk/>
          <pc:sldMk cId="3995244737" sldId="935"/>
        </pc:sldMkLst>
        <pc:graphicFrameChg chg="add mod modGraphic">
          <ac:chgData name="christophe CHUECOS-FONT" userId="7e57acaa-4bc6-4644-8edc-0ecdded28594" providerId="ADAL" clId="{AEC8F169-53EF-477E-AA87-6479700505CB}" dt="2021-03-26T12:07:16.791" v="1978" actId="255"/>
          <ac:graphicFrameMkLst>
            <pc:docMk/>
            <pc:sldMk cId="3995244737" sldId="935"/>
            <ac:graphicFrameMk id="4" creationId="{31341E29-4EF9-4CD4-A113-CE1BC1408EAE}"/>
          </ac:graphicFrameMkLst>
        </pc:graphicFrameChg>
        <pc:graphicFrameChg chg="del">
          <ac:chgData name="christophe CHUECOS-FONT" userId="7e57acaa-4bc6-4644-8edc-0ecdded28594" providerId="ADAL" clId="{AEC8F169-53EF-477E-AA87-6479700505CB}" dt="2021-03-26T12:06:52.494" v="1974" actId="21"/>
          <ac:graphicFrameMkLst>
            <pc:docMk/>
            <pc:sldMk cId="3995244737" sldId="935"/>
            <ac:graphicFrameMk id="5" creationId="{36213E86-B02B-4398-B79E-9982F0B089DB}"/>
          </ac:graphicFrameMkLst>
        </pc:graphicFrameChg>
      </pc:sldChg>
      <pc:sldChg chg="addSp delSp modSp add mod">
        <pc:chgData name="christophe CHUECOS-FONT" userId="7e57acaa-4bc6-4644-8edc-0ecdded28594" providerId="ADAL" clId="{AEC8F169-53EF-477E-AA87-6479700505CB}" dt="2021-03-26T12:07:44.786" v="1983" actId="14100"/>
        <pc:sldMkLst>
          <pc:docMk/>
          <pc:sldMk cId="1796677580" sldId="936"/>
        </pc:sldMkLst>
        <pc:graphicFrameChg chg="del">
          <ac:chgData name="christophe CHUECOS-FONT" userId="7e57acaa-4bc6-4644-8edc-0ecdded28594" providerId="ADAL" clId="{AEC8F169-53EF-477E-AA87-6479700505CB}" dt="2021-03-26T12:07:26.568" v="1980" actId="21"/>
          <ac:graphicFrameMkLst>
            <pc:docMk/>
            <pc:sldMk cId="1796677580" sldId="936"/>
            <ac:graphicFrameMk id="4" creationId="{31341E29-4EF9-4CD4-A113-CE1BC1408EAE}"/>
          </ac:graphicFrameMkLst>
        </pc:graphicFrameChg>
        <pc:graphicFrameChg chg="add mod modGraphic">
          <ac:chgData name="christophe CHUECOS-FONT" userId="7e57acaa-4bc6-4644-8edc-0ecdded28594" providerId="ADAL" clId="{AEC8F169-53EF-477E-AA87-6479700505CB}" dt="2021-03-26T12:07:44.786" v="1983" actId="14100"/>
          <ac:graphicFrameMkLst>
            <pc:docMk/>
            <pc:sldMk cId="1796677580" sldId="936"/>
            <ac:graphicFrameMk id="5" creationId="{5AA6B966-6CC4-4B87-97D1-3182CC969173}"/>
          </ac:graphicFrameMkLst>
        </pc:graphicFrameChg>
      </pc:sldChg>
      <pc:sldChg chg="addSp delSp modSp add mod">
        <pc:chgData name="christophe CHUECOS-FONT" userId="7e57acaa-4bc6-4644-8edc-0ecdded28594" providerId="ADAL" clId="{AEC8F169-53EF-477E-AA87-6479700505CB}" dt="2021-03-26T12:08:16.157" v="1988" actId="14100"/>
        <pc:sldMkLst>
          <pc:docMk/>
          <pc:sldMk cId="3725550176" sldId="937"/>
        </pc:sldMkLst>
        <pc:graphicFrameChg chg="add mod modGraphic">
          <ac:chgData name="christophe CHUECOS-FONT" userId="7e57acaa-4bc6-4644-8edc-0ecdded28594" providerId="ADAL" clId="{AEC8F169-53EF-477E-AA87-6479700505CB}" dt="2021-03-26T12:08:16.157" v="1988" actId="14100"/>
          <ac:graphicFrameMkLst>
            <pc:docMk/>
            <pc:sldMk cId="3725550176" sldId="937"/>
            <ac:graphicFrameMk id="4" creationId="{BBE1DF13-B039-454A-A3E6-FCBDA8CCCC01}"/>
          </ac:graphicFrameMkLst>
        </pc:graphicFrameChg>
        <pc:graphicFrameChg chg="del">
          <ac:chgData name="christophe CHUECOS-FONT" userId="7e57acaa-4bc6-4644-8edc-0ecdded28594" providerId="ADAL" clId="{AEC8F169-53EF-477E-AA87-6479700505CB}" dt="2021-03-26T12:07:53.976" v="1985" actId="21"/>
          <ac:graphicFrameMkLst>
            <pc:docMk/>
            <pc:sldMk cId="3725550176" sldId="937"/>
            <ac:graphicFrameMk id="5" creationId="{5AA6B966-6CC4-4B87-97D1-3182CC969173}"/>
          </ac:graphicFrameMkLst>
        </pc:graphicFrameChg>
      </pc:sldChg>
      <pc:sldChg chg="addSp delSp modSp add mod">
        <pc:chgData name="christophe CHUECOS-FONT" userId="7e57acaa-4bc6-4644-8edc-0ecdded28594" providerId="ADAL" clId="{AEC8F169-53EF-477E-AA87-6479700505CB}" dt="2021-03-26T12:09:10.840" v="1998" actId="14100"/>
        <pc:sldMkLst>
          <pc:docMk/>
          <pc:sldMk cId="69180362" sldId="938"/>
        </pc:sldMkLst>
        <pc:spChg chg="add mod">
          <ac:chgData name="christophe CHUECOS-FONT" userId="7e57acaa-4bc6-4644-8edc-0ecdded28594" providerId="ADAL" clId="{AEC8F169-53EF-477E-AA87-6479700505CB}" dt="2021-03-26T12:08:51.807" v="1995" actId="20577"/>
          <ac:spMkLst>
            <pc:docMk/>
            <pc:sldMk cId="69180362" sldId="938"/>
            <ac:spMk id="8" creationId="{D10E6916-68A2-4418-A5BE-C012CAD7BB92}"/>
          </ac:spMkLst>
        </pc:spChg>
        <pc:graphicFrameChg chg="del">
          <ac:chgData name="christophe CHUECOS-FONT" userId="7e57acaa-4bc6-4644-8edc-0ecdded28594" providerId="ADAL" clId="{AEC8F169-53EF-477E-AA87-6479700505CB}" dt="2021-03-26T12:08:26.938" v="1990" actId="21"/>
          <ac:graphicFrameMkLst>
            <pc:docMk/>
            <pc:sldMk cId="69180362" sldId="938"/>
            <ac:graphicFrameMk id="4" creationId="{BBE1DF13-B039-454A-A3E6-FCBDA8CCCC01}"/>
          </ac:graphicFrameMkLst>
        </pc:graphicFrameChg>
        <pc:graphicFrameChg chg="add mod modGraphic">
          <ac:chgData name="christophe CHUECOS-FONT" userId="7e57acaa-4bc6-4644-8edc-0ecdded28594" providerId="ADAL" clId="{AEC8F169-53EF-477E-AA87-6479700505CB}" dt="2021-03-26T12:09:10.840" v="1998" actId="14100"/>
          <ac:graphicFrameMkLst>
            <pc:docMk/>
            <pc:sldMk cId="69180362" sldId="938"/>
            <ac:graphicFrameMk id="6" creationId="{426880A0-D09A-47D5-ADBB-F04174F4A43D}"/>
          </ac:graphicFrameMkLst>
        </pc:graphicFrameChg>
      </pc:sldChg>
    </pc:docChg>
  </pc:docChgLst>
  <pc:docChgLst>
    <pc:chgData name="christophe CHUECOS-FONT" userId="7e57acaa-4bc6-4644-8edc-0ecdded28594" providerId="ADAL" clId="{69632830-5E2C-4AAB-BE3F-9B87E87CD568}"/>
    <pc:docChg chg="undo custSel addSld delSld modSld sldOrd">
      <pc:chgData name="christophe CHUECOS-FONT" userId="7e57acaa-4bc6-4644-8edc-0ecdded28594" providerId="ADAL" clId="{69632830-5E2C-4AAB-BE3F-9B87E87CD568}" dt="2021-04-30T15:39:59.029" v="440" actId="20577"/>
      <pc:docMkLst>
        <pc:docMk/>
      </pc:docMkLst>
      <pc:sldChg chg="modSp mod">
        <pc:chgData name="christophe CHUECOS-FONT" userId="7e57acaa-4bc6-4644-8edc-0ecdded28594" providerId="ADAL" clId="{69632830-5E2C-4AAB-BE3F-9B87E87CD568}" dt="2021-04-29T22:20:50.683" v="4" actId="20577"/>
        <pc:sldMkLst>
          <pc:docMk/>
          <pc:sldMk cId="3848639155" sldId="256"/>
        </pc:sldMkLst>
        <pc:spChg chg="mod">
          <ac:chgData name="christophe CHUECOS-FONT" userId="7e57acaa-4bc6-4644-8edc-0ecdded28594" providerId="ADAL" clId="{69632830-5E2C-4AAB-BE3F-9B87E87CD568}" dt="2021-04-29T22:20:50.683" v="4" actId="20577"/>
          <ac:spMkLst>
            <pc:docMk/>
            <pc:sldMk cId="3848639155" sldId="256"/>
            <ac:spMk id="3" creationId="{21349F9F-31B4-41DC-B4DB-C097467B5266}"/>
          </ac:spMkLst>
        </pc:spChg>
      </pc:sldChg>
      <pc:sldChg chg="modSp mod">
        <pc:chgData name="christophe CHUECOS-FONT" userId="7e57acaa-4bc6-4644-8edc-0ecdded28594" providerId="ADAL" clId="{69632830-5E2C-4AAB-BE3F-9B87E87CD568}" dt="2021-04-29T22:21:40.868" v="12" actId="20577"/>
        <pc:sldMkLst>
          <pc:docMk/>
          <pc:sldMk cId="251691404" sldId="276"/>
        </pc:sldMkLst>
        <pc:graphicFrameChg chg="modGraphic">
          <ac:chgData name="christophe CHUECOS-FONT" userId="7e57acaa-4bc6-4644-8edc-0ecdded28594" providerId="ADAL" clId="{69632830-5E2C-4AAB-BE3F-9B87E87CD568}" dt="2021-04-29T22:21:40.868" v="12" actId="20577"/>
          <ac:graphicFrameMkLst>
            <pc:docMk/>
            <pc:sldMk cId="251691404" sldId="276"/>
            <ac:graphicFrameMk id="3" creationId="{90A39BD7-E179-4570-8079-E6A295B49267}"/>
          </ac:graphicFrameMkLst>
        </pc:graphicFrameChg>
      </pc:sldChg>
      <pc:sldChg chg="del">
        <pc:chgData name="christophe CHUECOS-FONT" userId="7e57acaa-4bc6-4644-8edc-0ecdded28594" providerId="ADAL" clId="{69632830-5E2C-4AAB-BE3F-9B87E87CD568}" dt="2021-04-29T22:23:41.002" v="42" actId="47"/>
        <pc:sldMkLst>
          <pc:docMk/>
          <pc:sldMk cId="199886149" sldId="751"/>
        </pc:sldMkLst>
      </pc:sldChg>
      <pc:sldChg chg="add ord">
        <pc:chgData name="christophe CHUECOS-FONT" userId="7e57acaa-4bc6-4644-8edc-0ecdded28594" providerId="ADAL" clId="{69632830-5E2C-4AAB-BE3F-9B87E87CD568}" dt="2021-04-29T22:23:04.707" v="27"/>
        <pc:sldMkLst>
          <pc:docMk/>
          <pc:sldMk cId="2127276154" sldId="762"/>
        </pc:sldMkLst>
      </pc:sldChg>
      <pc:sldChg chg="add ord">
        <pc:chgData name="christophe CHUECOS-FONT" userId="7e57acaa-4bc6-4644-8edc-0ecdded28594" providerId="ADAL" clId="{69632830-5E2C-4AAB-BE3F-9B87E87CD568}" dt="2021-04-29T22:26:10.800" v="106"/>
        <pc:sldMkLst>
          <pc:docMk/>
          <pc:sldMk cId="2787990808" sldId="765"/>
        </pc:sldMkLst>
      </pc:sldChg>
      <pc:sldChg chg="del">
        <pc:chgData name="christophe CHUECOS-FONT" userId="7e57acaa-4bc6-4644-8edc-0ecdded28594" providerId="ADAL" clId="{69632830-5E2C-4AAB-BE3F-9B87E87CD568}" dt="2021-04-29T22:27:04.474" v="109" actId="47"/>
        <pc:sldMkLst>
          <pc:docMk/>
          <pc:sldMk cId="2343994896" sldId="867"/>
        </pc:sldMkLst>
      </pc:sldChg>
      <pc:sldChg chg="del">
        <pc:chgData name="christophe CHUECOS-FONT" userId="7e57acaa-4bc6-4644-8edc-0ecdded28594" providerId="ADAL" clId="{69632830-5E2C-4AAB-BE3F-9B87E87CD568}" dt="2021-04-29T22:27:18.324" v="127" actId="47"/>
        <pc:sldMkLst>
          <pc:docMk/>
          <pc:sldMk cId="518596460" sldId="903"/>
        </pc:sldMkLst>
      </pc:sldChg>
      <pc:sldChg chg="del">
        <pc:chgData name="christophe CHUECOS-FONT" userId="7e57acaa-4bc6-4644-8edc-0ecdded28594" providerId="ADAL" clId="{69632830-5E2C-4AAB-BE3F-9B87E87CD568}" dt="2021-04-29T22:27:40.456" v="129" actId="47"/>
        <pc:sldMkLst>
          <pc:docMk/>
          <pc:sldMk cId="2856685236" sldId="904"/>
        </pc:sldMkLst>
      </pc:sldChg>
      <pc:sldChg chg="del">
        <pc:chgData name="christophe CHUECOS-FONT" userId="7e57acaa-4bc6-4644-8edc-0ecdded28594" providerId="ADAL" clId="{69632830-5E2C-4AAB-BE3F-9B87E87CD568}" dt="2021-04-29T22:27:03.043" v="108" actId="47"/>
        <pc:sldMkLst>
          <pc:docMk/>
          <pc:sldMk cId="2413877595" sldId="906"/>
        </pc:sldMkLst>
      </pc:sldChg>
      <pc:sldChg chg="modSp mod">
        <pc:chgData name="christophe CHUECOS-FONT" userId="7e57acaa-4bc6-4644-8edc-0ecdded28594" providerId="ADAL" clId="{69632830-5E2C-4AAB-BE3F-9B87E87CD568}" dt="2021-04-29T22:23:49.442" v="43" actId="20577"/>
        <pc:sldMkLst>
          <pc:docMk/>
          <pc:sldMk cId="1603699342" sldId="928"/>
        </pc:sldMkLst>
        <pc:spChg chg="mod">
          <ac:chgData name="christophe CHUECOS-FONT" userId="7e57acaa-4bc6-4644-8edc-0ecdded28594" providerId="ADAL" clId="{69632830-5E2C-4AAB-BE3F-9B87E87CD568}" dt="2021-04-29T22:23:49.442" v="43" actId="20577"/>
          <ac:spMkLst>
            <pc:docMk/>
            <pc:sldMk cId="1603699342" sldId="928"/>
            <ac:spMk id="5" creationId="{DFEA2082-E7DE-4453-8158-54F380B94285}"/>
          </ac:spMkLst>
        </pc:spChg>
      </pc:sldChg>
      <pc:sldChg chg="del">
        <pc:chgData name="christophe CHUECOS-FONT" userId="7e57acaa-4bc6-4644-8edc-0ecdded28594" providerId="ADAL" clId="{69632830-5E2C-4AAB-BE3F-9B87E87CD568}" dt="2021-04-29T22:22:10.390" v="21" actId="47"/>
        <pc:sldMkLst>
          <pc:docMk/>
          <pc:sldMk cId="838034858" sldId="929"/>
        </pc:sldMkLst>
      </pc:sldChg>
      <pc:sldChg chg="del">
        <pc:chgData name="christophe CHUECOS-FONT" userId="7e57acaa-4bc6-4644-8edc-0ecdded28594" providerId="ADAL" clId="{69632830-5E2C-4AAB-BE3F-9B87E87CD568}" dt="2021-04-29T22:22:11.011" v="22" actId="47"/>
        <pc:sldMkLst>
          <pc:docMk/>
          <pc:sldMk cId="2778287842" sldId="930"/>
        </pc:sldMkLst>
      </pc:sldChg>
      <pc:sldChg chg="del">
        <pc:chgData name="christophe CHUECOS-FONT" userId="7e57acaa-4bc6-4644-8edc-0ecdded28594" providerId="ADAL" clId="{69632830-5E2C-4AAB-BE3F-9B87E87CD568}" dt="2021-04-29T22:22:11.540" v="23" actId="47"/>
        <pc:sldMkLst>
          <pc:docMk/>
          <pc:sldMk cId="3403650375" sldId="931"/>
        </pc:sldMkLst>
      </pc:sldChg>
      <pc:sldChg chg="del">
        <pc:chgData name="christophe CHUECOS-FONT" userId="7e57acaa-4bc6-4644-8edc-0ecdded28594" providerId="ADAL" clId="{69632830-5E2C-4AAB-BE3F-9B87E87CD568}" dt="2021-04-29T22:22:13.576" v="24" actId="47"/>
        <pc:sldMkLst>
          <pc:docMk/>
          <pc:sldMk cId="908281077" sldId="932"/>
        </pc:sldMkLst>
      </pc:sldChg>
      <pc:sldChg chg="del">
        <pc:chgData name="christophe CHUECOS-FONT" userId="7e57acaa-4bc6-4644-8edc-0ecdded28594" providerId="ADAL" clId="{69632830-5E2C-4AAB-BE3F-9B87E87CD568}" dt="2021-04-29T22:27:04.923" v="110" actId="47"/>
        <pc:sldMkLst>
          <pc:docMk/>
          <pc:sldMk cId="2169269237" sldId="933"/>
        </pc:sldMkLst>
      </pc:sldChg>
      <pc:sldChg chg="del">
        <pc:chgData name="christophe CHUECOS-FONT" userId="7e57acaa-4bc6-4644-8edc-0ecdded28594" providerId="ADAL" clId="{69632830-5E2C-4AAB-BE3F-9B87E87CD568}" dt="2021-04-29T22:27:05.440" v="111" actId="47"/>
        <pc:sldMkLst>
          <pc:docMk/>
          <pc:sldMk cId="1450746386" sldId="934"/>
        </pc:sldMkLst>
      </pc:sldChg>
      <pc:sldChg chg="del">
        <pc:chgData name="christophe CHUECOS-FONT" userId="7e57acaa-4bc6-4644-8edc-0ecdded28594" providerId="ADAL" clId="{69632830-5E2C-4AAB-BE3F-9B87E87CD568}" dt="2021-04-29T22:27:05.988" v="112" actId="47"/>
        <pc:sldMkLst>
          <pc:docMk/>
          <pc:sldMk cId="2411080194" sldId="935"/>
        </pc:sldMkLst>
      </pc:sldChg>
      <pc:sldChg chg="del">
        <pc:chgData name="christophe CHUECOS-FONT" userId="7e57acaa-4bc6-4644-8edc-0ecdded28594" providerId="ADAL" clId="{69632830-5E2C-4AAB-BE3F-9B87E87CD568}" dt="2021-04-29T22:27:06.464" v="113" actId="47"/>
        <pc:sldMkLst>
          <pc:docMk/>
          <pc:sldMk cId="1723624915" sldId="936"/>
        </pc:sldMkLst>
      </pc:sldChg>
      <pc:sldChg chg="del">
        <pc:chgData name="christophe CHUECOS-FONT" userId="7e57acaa-4bc6-4644-8edc-0ecdded28594" providerId="ADAL" clId="{69632830-5E2C-4AAB-BE3F-9B87E87CD568}" dt="2021-04-29T22:27:06.995" v="114" actId="47"/>
        <pc:sldMkLst>
          <pc:docMk/>
          <pc:sldMk cId="1052992918" sldId="937"/>
        </pc:sldMkLst>
      </pc:sldChg>
      <pc:sldChg chg="del">
        <pc:chgData name="christophe CHUECOS-FONT" userId="7e57acaa-4bc6-4644-8edc-0ecdded28594" providerId="ADAL" clId="{69632830-5E2C-4AAB-BE3F-9B87E87CD568}" dt="2021-04-29T22:27:07.659" v="115" actId="47"/>
        <pc:sldMkLst>
          <pc:docMk/>
          <pc:sldMk cId="705635903" sldId="938"/>
        </pc:sldMkLst>
      </pc:sldChg>
      <pc:sldChg chg="del">
        <pc:chgData name="christophe CHUECOS-FONT" userId="7e57acaa-4bc6-4644-8edc-0ecdded28594" providerId="ADAL" clId="{69632830-5E2C-4AAB-BE3F-9B87E87CD568}" dt="2021-04-29T22:27:08.298" v="116" actId="47"/>
        <pc:sldMkLst>
          <pc:docMk/>
          <pc:sldMk cId="3694353539" sldId="939"/>
        </pc:sldMkLst>
      </pc:sldChg>
      <pc:sldChg chg="del">
        <pc:chgData name="christophe CHUECOS-FONT" userId="7e57acaa-4bc6-4644-8edc-0ecdded28594" providerId="ADAL" clId="{69632830-5E2C-4AAB-BE3F-9B87E87CD568}" dt="2021-04-29T22:27:09.927" v="118" actId="47"/>
        <pc:sldMkLst>
          <pc:docMk/>
          <pc:sldMk cId="2169397702" sldId="940"/>
        </pc:sldMkLst>
      </pc:sldChg>
      <pc:sldChg chg="del">
        <pc:chgData name="christophe CHUECOS-FONT" userId="7e57acaa-4bc6-4644-8edc-0ecdded28594" providerId="ADAL" clId="{69632830-5E2C-4AAB-BE3F-9B87E87CD568}" dt="2021-04-29T22:27:08.942" v="117" actId="47"/>
        <pc:sldMkLst>
          <pc:docMk/>
          <pc:sldMk cId="4161496407" sldId="941"/>
        </pc:sldMkLst>
      </pc:sldChg>
      <pc:sldChg chg="del">
        <pc:chgData name="christophe CHUECOS-FONT" userId="7e57acaa-4bc6-4644-8edc-0ecdded28594" providerId="ADAL" clId="{69632830-5E2C-4AAB-BE3F-9B87E87CD568}" dt="2021-04-29T22:27:11.124" v="119" actId="47"/>
        <pc:sldMkLst>
          <pc:docMk/>
          <pc:sldMk cId="2395717442" sldId="942"/>
        </pc:sldMkLst>
      </pc:sldChg>
      <pc:sldChg chg="del">
        <pc:chgData name="christophe CHUECOS-FONT" userId="7e57acaa-4bc6-4644-8edc-0ecdded28594" providerId="ADAL" clId="{69632830-5E2C-4AAB-BE3F-9B87E87CD568}" dt="2021-04-29T22:27:11.783" v="120" actId="47"/>
        <pc:sldMkLst>
          <pc:docMk/>
          <pc:sldMk cId="2389229991" sldId="944"/>
        </pc:sldMkLst>
      </pc:sldChg>
      <pc:sldChg chg="del">
        <pc:chgData name="christophe CHUECOS-FONT" userId="7e57acaa-4bc6-4644-8edc-0ecdded28594" providerId="ADAL" clId="{69632830-5E2C-4AAB-BE3F-9B87E87CD568}" dt="2021-04-29T22:27:12.381" v="121" actId="47"/>
        <pc:sldMkLst>
          <pc:docMk/>
          <pc:sldMk cId="3412986615" sldId="945"/>
        </pc:sldMkLst>
      </pc:sldChg>
      <pc:sldChg chg="del">
        <pc:chgData name="christophe CHUECOS-FONT" userId="7e57acaa-4bc6-4644-8edc-0ecdded28594" providerId="ADAL" clId="{69632830-5E2C-4AAB-BE3F-9B87E87CD568}" dt="2021-04-29T22:27:12.605" v="122" actId="47"/>
        <pc:sldMkLst>
          <pc:docMk/>
          <pc:sldMk cId="246643537" sldId="946"/>
        </pc:sldMkLst>
      </pc:sldChg>
      <pc:sldChg chg="modSp mod ord">
        <pc:chgData name="christophe CHUECOS-FONT" userId="7e57acaa-4bc6-4644-8edc-0ecdded28594" providerId="ADAL" clId="{69632830-5E2C-4AAB-BE3F-9B87E87CD568}" dt="2021-04-30T09:16:19.107" v="145" actId="20577"/>
        <pc:sldMkLst>
          <pc:docMk/>
          <pc:sldMk cId="3854939415" sldId="947"/>
        </pc:sldMkLst>
        <pc:spChg chg="mod">
          <ac:chgData name="christophe CHUECOS-FONT" userId="7e57acaa-4bc6-4644-8edc-0ecdded28594" providerId="ADAL" clId="{69632830-5E2C-4AAB-BE3F-9B87E87CD568}" dt="2021-04-30T09:16:19.107" v="145" actId="20577"/>
          <ac:spMkLst>
            <pc:docMk/>
            <pc:sldMk cId="3854939415" sldId="947"/>
            <ac:spMk id="2" creationId="{AB4BD8A2-5C77-4F6B-ACB6-AB917A0C0D72}"/>
          </ac:spMkLst>
        </pc:spChg>
      </pc:sldChg>
      <pc:sldChg chg="del">
        <pc:chgData name="christophe CHUECOS-FONT" userId="7e57acaa-4bc6-4644-8edc-0ecdded28594" providerId="ADAL" clId="{69632830-5E2C-4AAB-BE3F-9B87E87CD568}" dt="2021-04-29T22:27:16.039" v="124" actId="47"/>
        <pc:sldMkLst>
          <pc:docMk/>
          <pc:sldMk cId="404236345" sldId="948"/>
        </pc:sldMkLst>
      </pc:sldChg>
      <pc:sldChg chg="del">
        <pc:chgData name="christophe CHUECOS-FONT" userId="7e57acaa-4bc6-4644-8edc-0ecdded28594" providerId="ADAL" clId="{69632830-5E2C-4AAB-BE3F-9B87E87CD568}" dt="2021-04-29T22:27:16.554" v="125" actId="47"/>
        <pc:sldMkLst>
          <pc:docMk/>
          <pc:sldMk cId="2081772969" sldId="949"/>
        </pc:sldMkLst>
      </pc:sldChg>
      <pc:sldChg chg="del">
        <pc:chgData name="christophe CHUECOS-FONT" userId="7e57acaa-4bc6-4644-8edc-0ecdded28594" providerId="ADAL" clId="{69632830-5E2C-4AAB-BE3F-9B87E87CD568}" dt="2021-04-29T22:27:17.370" v="126" actId="47"/>
        <pc:sldMkLst>
          <pc:docMk/>
          <pc:sldMk cId="1251446674" sldId="950"/>
        </pc:sldMkLst>
      </pc:sldChg>
      <pc:sldChg chg="del">
        <pc:chgData name="christophe CHUECOS-FONT" userId="7e57acaa-4bc6-4644-8edc-0ecdded28594" providerId="ADAL" clId="{69632830-5E2C-4AAB-BE3F-9B87E87CD568}" dt="2021-04-29T22:27:13.427" v="123" actId="47"/>
        <pc:sldMkLst>
          <pc:docMk/>
          <pc:sldMk cId="3226514533" sldId="952"/>
        </pc:sldMkLst>
      </pc:sldChg>
      <pc:sldChg chg="del">
        <pc:chgData name="christophe CHUECOS-FONT" userId="7e57acaa-4bc6-4644-8edc-0ecdded28594" providerId="ADAL" clId="{69632830-5E2C-4AAB-BE3F-9B87E87CD568}" dt="2021-04-30T09:16:04.995" v="130" actId="47"/>
        <pc:sldMkLst>
          <pc:docMk/>
          <pc:sldMk cId="1557249580" sldId="953"/>
        </pc:sldMkLst>
      </pc:sldChg>
      <pc:sldChg chg="del">
        <pc:chgData name="christophe CHUECOS-FONT" userId="7e57acaa-4bc6-4644-8edc-0ecdded28594" providerId="ADAL" clId="{69632830-5E2C-4AAB-BE3F-9B87E87CD568}" dt="2021-04-29T22:27:32.675" v="128" actId="47"/>
        <pc:sldMkLst>
          <pc:docMk/>
          <pc:sldMk cId="4134792754" sldId="954"/>
        </pc:sldMkLst>
      </pc:sldChg>
      <pc:sldChg chg="modSp mod">
        <pc:chgData name="christophe CHUECOS-FONT" userId="7e57acaa-4bc6-4644-8edc-0ecdded28594" providerId="ADAL" clId="{69632830-5E2C-4AAB-BE3F-9B87E87CD568}" dt="2021-04-30T09:20:51.341" v="289" actId="13926"/>
        <pc:sldMkLst>
          <pc:docMk/>
          <pc:sldMk cId="145373554" sldId="955"/>
        </pc:sldMkLst>
        <pc:spChg chg="mod">
          <ac:chgData name="christophe CHUECOS-FONT" userId="7e57acaa-4bc6-4644-8edc-0ecdded28594" providerId="ADAL" clId="{69632830-5E2C-4AAB-BE3F-9B87E87CD568}" dt="2021-04-30T09:20:33.764" v="287" actId="27636"/>
          <ac:spMkLst>
            <pc:docMk/>
            <pc:sldMk cId="145373554" sldId="955"/>
            <ac:spMk id="2" creationId="{41644713-AF21-4543-94FE-A96FEBAA2B11}"/>
          </ac:spMkLst>
        </pc:spChg>
        <pc:graphicFrameChg chg="modGraphic">
          <ac:chgData name="christophe CHUECOS-FONT" userId="7e57acaa-4bc6-4644-8edc-0ecdded28594" providerId="ADAL" clId="{69632830-5E2C-4AAB-BE3F-9B87E87CD568}" dt="2021-04-30T09:20:51.341" v="289" actId="13926"/>
          <ac:graphicFrameMkLst>
            <pc:docMk/>
            <pc:sldMk cId="145373554" sldId="955"/>
            <ac:graphicFrameMk id="4" creationId="{DED4966F-E2DC-47D2-8406-77E6764A6DB7}"/>
          </ac:graphicFrameMkLst>
        </pc:graphicFrameChg>
      </pc:sldChg>
      <pc:sldChg chg="del">
        <pc:chgData name="christophe CHUECOS-FONT" userId="7e57acaa-4bc6-4644-8edc-0ecdded28594" providerId="ADAL" clId="{69632830-5E2C-4AAB-BE3F-9B87E87CD568}" dt="2021-04-29T22:27:32.675" v="128" actId="47"/>
        <pc:sldMkLst>
          <pc:docMk/>
          <pc:sldMk cId="3953886819" sldId="956"/>
        </pc:sldMkLst>
      </pc:sldChg>
      <pc:sldChg chg="del">
        <pc:chgData name="christophe CHUECOS-FONT" userId="7e57acaa-4bc6-4644-8edc-0ecdded28594" providerId="ADAL" clId="{69632830-5E2C-4AAB-BE3F-9B87E87CD568}" dt="2021-04-30T09:22:15.206" v="322" actId="47"/>
        <pc:sldMkLst>
          <pc:docMk/>
          <pc:sldMk cId="1604631660" sldId="957"/>
        </pc:sldMkLst>
      </pc:sldChg>
      <pc:sldChg chg="del">
        <pc:chgData name="christophe CHUECOS-FONT" userId="7e57acaa-4bc6-4644-8edc-0ecdded28594" providerId="ADAL" clId="{69632830-5E2C-4AAB-BE3F-9B87E87CD568}" dt="2021-04-30T09:22:42.402" v="323" actId="47"/>
        <pc:sldMkLst>
          <pc:docMk/>
          <pc:sldMk cId="2629396649" sldId="958"/>
        </pc:sldMkLst>
      </pc:sldChg>
      <pc:sldChg chg="del">
        <pc:chgData name="christophe CHUECOS-FONT" userId="7e57acaa-4bc6-4644-8edc-0ecdded28594" providerId="ADAL" clId="{69632830-5E2C-4AAB-BE3F-9B87E87CD568}" dt="2021-04-29T22:27:40.456" v="129" actId="47"/>
        <pc:sldMkLst>
          <pc:docMk/>
          <pc:sldMk cId="745885902" sldId="959"/>
        </pc:sldMkLst>
      </pc:sldChg>
      <pc:sldChg chg="del">
        <pc:chgData name="christophe CHUECOS-FONT" userId="7e57acaa-4bc6-4644-8edc-0ecdded28594" providerId="ADAL" clId="{69632830-5E2C-4AAB-BE3F-9B87E87CD568}" dt="2021-04-29T22:27:40.456" v="129" actId="47"/>
        <pc:sldMkLst>
          <pc:docMk/>
          <pc:sldMk cId="1431546980" sldId="960"/>
        </pc:sldMkLst>
      </pc:sldChg>
      <pc:sldChg chg="del">
        <pc:chgData name="christophe CHUECOS-FONT" userId="7e57acaa-4bc6-4644-8edc-0ecdded28594" providerId="ADAL" clId="{69632830-5E2C-4AAB-BE3F-9B87E87CD568}" dt="2021-04-29T22:27:40.456" v="129" actId="47"/>
        <pc:sldMkLst>
          <pc:docMk/>
          <pc:sldMk cId="2870954091" sldId="961"/>
        </pc:sldMkLst>
      </pc:sldChg>
      <pc:sldChg chg="del">
        <pc:chgData name="christophe CHUECOS-FONT" userId="7e57acaa-4bc6-4644-8edc-0ecdded28594" providerId="ADAL" clId="{69632830-5E2C-4AAB-BE3F-9B87E87CD568}" dt="2021-04-29T22:27:40.456" v="129" actId="47"/>
        <pc:sldMkLst>
          <pc:docMk/>
          <pc:sldMk cId="924349727" sldId="962"/>
        </pc:sldMkLst>
      </pc:sldChg>
      <pc:sldChg chg="del">
        <pc:chgData name="christophe CHUECOS-FONT" userId="7e57acaa-4bc6-4644-8edc-0ecdded28594" providerId="ADAL" clId="{69632830-5E2C-4AAB-BE3F-9B87E87CD568}" dt="2021-04-29T22:27:40.456" v="129" actId="47"/>
        <pc:sldMkLst>
          <pc:docMk/>
          <pc:sldMk cId="3755857740" sldId="963"/>
        </pc:sldMkLst>
      </pc:sldChg>
      <pc:sldChg chg="del">
        <pc:chgData name="christophe CHUECOS-FONT" userId="7e57acaa-4bc6-4644-8edc-0ecdded28594" providerId="ADAL" clId="{69632830-5E2C-4AAB-BE3F-9B87E87CD568}" dt="2021-04-29T22:27:40.456" v="129" actId="47"/>
        <pc:sldMkLst>
          <pc:docMk/>
          <pc:sldMk cId="952143569" sldId="964"/>
        </pc:sldMkLst>
      </pc:sldChg>
      <pc:sldChg chg="del">
        <pc:chgData name="christophe CHUECOS-FONT" userId="7e57acaa-4bc6-4644-8edc-0ecdded28594" providerId="ADAL" clId="{69632830-5E2C-4AAB-BE3F-9B87E87CD568}" dt="2021-04-29T22:27:40.456" v="129" actId="47"/>
        <pc:sldMkLst>
          <pc:docMk/>
          <pc:sldMk cId="1037609881" sldId="965"/>
        </pc:sldMkLst>
      </pc:sldChg>
      <pc:sldChg chg="del">
        <pc:chgData name="christophe CHUECOS-FONT" userId="7e57acaa-4bc6-4644-8edc-0ecdded28594" providerId="ADAL" clId="{69632830-5E2C-4AAB-BE3F-9B87E87CD568}" dt="2021-04-29T22:27:40.456" v="129" actId="47"/>
        <pc:sldMkLst>
          <pc:docMk/>
          <pc:sldMk cId="198804222" sldId="966"/>
        </pc:sldMkLst>
      </pc:sldChg>
      <pc:sldChg chg="del">
        <pc:chgData name="christophe CHUECOS-FONT" userId="7e57acaa-4bc6-4644-8edc-0ecdded28594" providerId="ADAL" clId="{69632830-5E2C-4AAB-BE3F-9B87E87CD568}" dt="2021-04-29T22:27:40.456" v="129" actId="47"/>
        <pc:sldMkLst>
          <pc:docMk/>
          <pc:sldMk cId="3218206374" sldId="967"/>
        </pc:sldMkLst>
      </pc:sldChg>
      <pc:sldChg chg="del">
        <pc:chgData name="christophe CHUECOS-FONT" userId="7e57acaa-4bc6-4644-8edc-0ecdded28594" providerId="ADAL" clId="{69632830-5E2C-4AAB-BE3F-9B87E87CD568}" dt="2021-04-29T22:27:40.456" v="129" actId="47"/>
        <pc:sldMkLst>
          <pc:docMk/>
          <pc:sldMk cId="480113765" sldId="968"/>
        </pc:sldMkLst>
      </pc:sldChg>
      <pc:sldChg chg="del">
        <pc:chgData name="christophe CHUECOS-FONT" userId="7e57acaa-4bc6-4644-8edc-0ecdded28594" providerId="ADAL" clId="{69632830-5E2C-4AAB-BE3F-9B87E87CD568}" dt="2021-04-29T22:27:40.456" v="129" actId="47"/>
        <pc:sldMkLst>
          <pc:docMk/>
          <pc:sldMk cId="1576801385" sldId="969"/>
        </pc:sldMkLst>
      </pc:sldChg>
      <pc:sldChg chg="del">
        <pc:chgData name="christophe CHUECOS-FONT" userId="7e57acaa-4bc6-4644-8edc-0ecdded28594" providerId="ADAL" clId="{69632830-5E2C-4AAB-BE3F-9B87E87CD568}" dt="2021-04-29T22:27:40.456" v="129" actId="47"/>
        <pc:sldMkLst>
          <pc:docMk/>
          <pc:sldMk cId="1602978590" sldId="970"/>
        </pc:sldMkLst>
      </pc:sldChg>
      <pc:sldChg chg="del">
        <pc:chgData name="christophe CHUECOS-FONT" userId="7e57acaa-4bc6-4644-8edc-0ecdded28594" providerId="ADAL" clId="{69632830-5E2C-4AAB-BE3F-9B87E87CD568}" dt="2021-04-29T22:27:40.456" v="129" actId="47"/>
        <pc:sldMkLst>
          <pc:docMk/>
          <pc:sldMk cId="3656254179" sldId="971"/>
        </pc:sldMkLst>
      </pc:sldChg>
      <pc:sldChg chg="del">
        <pc:chgData name="christophe CHUECOS-FONT" userId="7e57acaa-4bc6-4644-8edc-0ecdded28594" providerId="ADAL" clId="{69632830-5E2C-4AAB-BE3F-9B87E87CD568}" dt="2021-04-29T22:27:40.456" v="129" actId="47"/>
        <pc:sldMkLst>
          <pc:docMk/>
          <pc:sldMk cId="432476417" sldId="972"/>
        </pc:sldMkLst>
      </pc:sldChg>
      <pc:sldChg chg="addSp modSp new mod setBg">
        <pc:chgData name="christophe CHUECOS-FONT" userId="7e57acaa-4bc6-4644-8edc-0ecdded28594" providerId="ADAL" clId="{69632830-5E2C-4AAB-BE3F-9B87E87CD568}" dt="2021-04-29T22:25:16.035" v="102" actId="255"/>
        <pc:sldMkLst>
          <pc:docMk/>
          <pc:sldMk cId="116534882" sldId="973"/>
        </pc:sldMkLst>
        <pc:spChg chg="mod">
          <ac:chgData name="christophe CHUECOS-FONT" userId="7e57acaa-4bc6-4644-8edc-0ecdded28594" providerId="ADAL" clId="{69632830-5E2C-4AAB-BE3F-9B87E87CD568}" dt="2021-04-29T22:24:58.575" v="86" actId="20577"/>
          <ac:spMkLst>
            <pc:docMk/>
            <pc:sldMk cId="116534882" sldId="973"/>
            <ac:spMk id="2" creationId="{4CE1063C-26E9-451E-B581-F9094F771F1C}"/>
          </ac:spMkLst>
        </pc:spChg>
        <pc:spChg chg="mod">
          <ac:chgData name="christophe CHUECOS-FONT" userId="7e57acaa-4bc6-4644-8edc-0ecdded28594" providerId="ADAL" clId="{69632830-5E2C-4AAB-BE3F-9B87E87CD568}" dt="2021-04-29T22:25:16.035" v="102" actId="255"/>
          <ac:spMkLst>
            <pc:docMk/>
            <pc:sldMk cId="116534882" sldId="973"/>
            <ac:spMk id="3" creationId="{4547C894-6E87-49E2-8590-12B2A7E70696}"/>
          </ac:spMkLst>
        </pc:spChg>
        <pc:picChg chg="add">
          <ac:chgData name="christophe CHUECOS-FONT" userId="7e57acaa-4bc6-4644-8edc-0ecdded28594" providerId="ADAL" clId="{69632830-5E2C-4AAB-BE3F-9B87E87CD568}" dt="2021-04-29T22:24:50.202" v="66" actId="26606"/>
          <ac:picMkLst>
            <pc:docMk/>
            <pc:sldMk cId="116534882" sldId="973"/>
            <ac:picMk id="5" creationId="{27D996A6-758F-4354-9504-B9EFAC8C8651}"/>
          </ac:picMkLst>
        </pc:picChg>
        <pc:cxnChg chg="add">
          <ac:chgData name="christophe CHUECOS-FONT" userId="7e57acaa-4bc6-4644-8edc-0ecdded28594" providerId="ADAL" clId="{69632830-5E2C-4AAB-BE3F-9B87E87CD568}" dt="2021-04-29T22:24:50.202" v="66" actId="26606"/>
          <ac:cxnSpMkLst>
            <pc:docMk/>
            <pc:sldMk cId="116534882" sldId="973"/>
            <ac:cxnSpMk id="9" creationId="{A7F400EE-A8A5-48AF-B4D6-291B52C6F0B0}"/>
          </ac:cxnSpMkLst>
        </pc:cxnChg>
      </pc:sldChg>
      <pc:sldChg chg="new del">
        <pc:chgData name="christophe CHUECOS-FONT" userId="7e57acaa-4bc6-4644-8edc-0ecdded28594" providerId="ADAL" clId="{69632830-5E2C-4AAB-BE3F-9B87E87CD568}" dt="2021-04-30T09:17:18.313" v="148" actId="47"/>
        <pc:sldMkLst>
          <pc:docMk/>
          <pc:sldMk cId="1737612263" sldId="974"/>
        </pc:sldMkLst>
      </pc:sldChg>
      <pc:sldChg chg="new del">
        <pc:chgData name="christophe CHUECOS-FONT" userId="7e57acaa-4bc6-4644-8edc-0ecdded28594" providerId="ADAL" clId="{69632830-5E2C-4AAB-BE3F-9B87E87CD568}" dt="2021-04-29T22:26:13.377" v="107" actId="47"/>
        <pc:sldMkLst>
          <pc:docMk/>
          <pc:sldMk cId="1975058359" sldId="974"/>
        </pc:sldMkLst>
      </pc:sldChg>
      <pc:sldChg chg="modSp add mod ord">
        <pc:chgData name="christophe CHUECOS-FONT" userId="7e57acaa-4bc6-4644-8edc-0ecdded28594" providerId="ADAL" clId="{69632830-5E2C-4AAB-BE3F-9B87E87CD568}" dt="2021-04-30T09:20:46.090" v="288" actId="13926"/>
        <pc:sldMkLst>
          <pc:docMk/>
          <pc:sldMk cId="1841325149" sldId="975"/>
        </pc:sldMkLst>
        <pc:spChg chg="mod">
          <ac:chgData name="christophe CHUECOS-FONT" userId="7e57acaa-4bc6-4644-8edc-0ecdded28594" providerId="ADAL" clId="{69632830-5E2C-4AAB-BE3F-9B87E87CD568}" dt="2021-04-30T09:17:24.939" v="160" actId="20577"/>
          <ac:spMkLst>
            <pc:docMk/>
            <pc:sldMk cId="1841325149" sldId="975"/>
            <ac:spMk id="2" creationId="{31C25B89-ECC8-4C4C-9793-BF73FEA1C16C}"/>
          </ac:spMkLst>
        </pc:spChg>
        <pc:graphicFrameChg chg="modGraphic">
          <ac:chgData name="christophe CHUECOS-FONT" userId="7e57acaa-4bc6-4644-8edc-0ecdded28594" providerId="ADAL" clId="{69632830-5E2C-4AAB-BE3F-9B87E87CD568}" dt="2021-04-30T09:20:46.090" v="288" actId="13926"/>
          <ac:graphicFrameMkLst>
            <pc:docMk/>
            <pc:sldMk cId="1841325149" sldId="975"/>
            <ac:graphicFrameMk id="4" creationId="{C8B39154-0893-4BC9-A638-37A89DE54D73}"/>
          </ac:graphicFrameMkLst>
        </pc:graphicFrameChg>
      </pc:sldChg>
      <pc:sldChg chg="modSp add mod">
        <pc:chgData name="christophe CHUECOS-FONT" userId="7e57acaa-4bc6-4644-8edc-0ecdded28594" providerId="ADAL" clId="{69632830-5E2C-4AAB-BE3F-9B87E87CD568}" dt="2021-04-30T09:21:38.281" v="321" actId="20577"/>
        <pc:sldMkLst>
          <pc:docMk/>
          <pc:sldMk cId="2243511648" sldId="976"/>
        </pc:sldMkLst>
        <pc:spChg chg="mod">
          <ac:chgData name="christophe CHUECOS-FONT" userId="7e57acaa-4bc6-4644-8edc-0ecdded28594" providerId="ADAL" clId="{69632830-5E2C-4AAB-BE3F-9B87E87CD568}" dt="2021-04-30T09:21:05.440" v="294" actId="27636"/>
          <ac:spMkLst>
            <pc:docMk/>
            <pc:sldMk cId="2243511648" sldId="976"/>
            <ac:spMk id="2" creationId="{41644713-AF21-4543-94FE-A96FEBAA2B11}"/>
          </ac:spMkLst>
        </pc:spChg>
        <pc:graphicFrameChg chg="modGraphic">
          <ac:chgData name="christophe CHUECOS-FONT" userId="7e57acaa-4bc6-4644-8edc-0ecdded28594" providerId="ADAL" clId="{69632830-5E2C-4AAB-BE3F-9B87E87CD568}" dt="2021-04-30T09:21:38.281" v="321" actId="20577"/>
          <ac:graphicFrameMkLst>
            <pc:docMk/>
            <pc:sldMk cId="2243511648" sldId="976"/>
            <ac:graphicFrameMk id="4" creationId="{DED4966F-E2DC-47D2-8406-77E6764A6DB7}"/>
          </ac:graphicFrameMkLst>
        </pc:graphicFrameChg>
      </pc:sldChg>
      <pc:sldChg chg="new del">
        <pc:chgData name="christophe CHUECOS-FONT" userId="7e57acaa-4bc6-4644-8edc-0ecdded28594" providerId="ADAL" clId="{69632830-5E2C-4AAB-BE3F-9B87E87CD568}" dt="2021-04-30T09:22:56.429" v="328" actId="47"/>
        <pc:sldMkLst>
          <pc:docMk/>
          <pc:sldMk cId="2493772580" sldId="977"/>
        </pc:sldMkLst>
      </pc:sldChg>
      <pc:sldChg chg="modSp add mod ord">
        <pc:chgData name="christophe CHUECOS-FONT" userId="7e57acaa-4bc6-4644-8edc-0ecdded28594" providerId="ADAL" clId="{69632830-5E2C-4AAB-BE3F-9B87E87CD568}" dt="2021-04-30T09:23:17.162" v="369" actId="6549"/>
        <pc:sldMkLst>
          <pc:docMk/>
          <pc:sldMk cId="3188089156" sldId="978"/>
        </pc:sldMkLst>
        <pc:spChg chg="mod">
          <ac:chgData name="christophe CHUECOS-FONT" userId="7e57acaa-4bc6-4644-8edc-0ecdded28594" providerId="ADAL" clId="{69632830-5E2C-4AAB-BE3F-9B87E87CD568}" dt="2021-04-30T09:23:13.084" v="368" actId="20577"/>
          <ac:spMkLst>
            <pc:docMk/>
            <pc:sldMk cId="3188089156" sldId="978"/>
            <ac:spMk id="2" creationId="{AB4BD8A2-5C77-4F6B-ACB6-AB917A0C0D72}"/>
          </ac:spMkLst>
        </pc:spChg>
        <pc:spChg chg="mod">
          <ac:chgData name="christophe CHUECOS-FONT" userId="7e57acaa-4bc6-4644-8edc-0ecdded28594" providerId="ADAL" clId="{69632830-5E2C-4AAB-BE3F-9B87E87CD568}" dt="2021-04-30T09:23:17.162" v="369" actId="6549"/>
          <ac:spMkLst>
            <pc:docMk/>
            <pc:sldMk cId="3188089156" sldId="978"/>
            <ac:spMk id="3" creationId="{667BC496-97F0-4F08-B182-396A614F80AF}"/>
          </ac:spMkLst>
        </pc:spChg>
      </pc:sldChg>
      <pc:sldChg chg="modSp new mod">
        <pc:chgData name="christophe CHUECOS-FONT" userId="7e57acaa-4bc6-4644-8edc-0ecdded28594" providerId="ADAL" clId="{69632830-5E2C-4AAB-BE3F-9B87E87CD568}" dt="2021-04-30T15:39:59.029" v="440" actId="20577"/>
        <pc:sldMkLst>
          <pc:docMk/>
          <pc:sldMk cId="2775532856" sldId="979"/>
        </pc:sldMkLst>
        <pc:spChg chg="mod">
          <ac:chgData name="christophe CHUECOS-FONT" userId="7e57acaa-4bc6-4644-8edc-0ecdded28594" providerId="ADAL" clId="{69632830-5E2C-4AAB-BE3F-9B87E87CD568}" dt="2021-04-30T15:39:59.029" v="440" actId="20577"/>
          <ac:spMkLst>
            <pc:docMk/>
            <pc:sldMk cId="2775532856" sldId="979"/>
            <ac:spMk id="2" creationId="{E61257BC-1DB9-4073-BB61-2CD75AECF7B4}"/>
          </ac:spMkLst>
        </pc:spChg>
        <pc:spChg chg="mod">
          <ac:chgData name="christophe CHUECOS-FONT" userId="7e57acaa-4bc6-4644-8edc-0ecdded28594" providerId="ADAL" clId="{69632830-5E2C-4AAB-BE3F-9B87E87CD568}" dt="2021-04-30T15:39:09.671" v="411" actId="255"/>
          <ac:spMkLst>
            <pc:docMk/>
            <pc:sldMk cId="2775532856" sldId="979"/>
            <ac:spMk id="3" creationId="{FF6A070E-C184-4B6A-B920-427CE400FDE0}"/>
          </ac:spMkLst>
        </pc:spChg>
      </pc:sldChg>
      <pc:sldChg chg="modSp new mod">
        <pc:chgData name="christophe CHUECOS-FONT" userId="7e57acaa-4bc6-4644-8edc-0ecdded28594" providerId="ADAL" clId="{69632830-5E2C-4AAB-BE3F-9B87E87CD568}" dt="2021-04-30T15:39:51.358" v="430" actId="20577"/>
        <pc:sldMkLst>
          <pc:docMk/>
          <pc:sldMk cId="1581712688" sldId="980"/>
        </pc:sldMkLst>
        <pc:spChg chg="mod">
          <ac:chgData name="christophe CHUECOS-FONT" userId="7e57acaa-4bc6-4644-8edc-0ecdded28594" providerId="ADAL" clId="{69632830-5E2C-4AAB-BE3F-9B87E87CD568}" dt="2021-04-30T15:39:51.358" v="430" actId="20577"/>
          <ac:spMkLst>
            <pc:docMk/>
            <pc:sldMk cId="1581712688" sldId="980"/>
            <ac:spMk id="2" creationId="{3F019CE6-C4A7-499E-B692-71CBD23648DB}"/>
          </ac:spMkLst>
        </pc:spChg>
        <pc:spChg chg="mod">
          <ac:chgData name="christophe CHUECOS-FONT" userId="7e57acaa-4bc6-4644-8edc-0ecdded28594" providerId="ADAL" clId="{69632830-5E2C-4AAB-BE3F-9B87E87CD568}" dt="2021-04-30T15:39:45.238" v="416" actId="5793"/>
          <ac:spMkLst>
            <pc:docMk/>
            <pc:sldMk cId="1581712688" sldId="980"/>
            <ac:spMk id="3" creationId="{51B3B3AE-5554-4A0C-8350-2C744674B520}"/>
          </ac:spMkLst>
        </pc:spChg>
      </pc:sldChg>
    </pc:docChg>
  </pc:docChgLst>
  <pc:docChgLst>
    <pc:chgData name="christophe CHUECOS-FONT" userId="7e57acaa-4bc6-4644-8edc-0ecdded28594" providerId="ADAL" clId="{C2BEBF3A-ECBA-4860-AC25-66AB61261A96}"/>
    <pc:docChg chg="undo custSel addSld delSld modSld sldOrd">
      <pc:chgData name="christophe CHUECOS-FONT" userId="7e57acaa-4bc6-4644-8edc-0ecdded28594" providerId="ADAL" clId="{C2BEBF3A-ECBA-4860-AC25-66AB61261A96}" dt="2021-03-18T23:43:37.528" v="1750" actId="6549"/>
      <pc:docMkLst>
        <pc:docMk/>
      </pc:docMkLst>
      <pc:sldChg chg="del">
        <pc:chgData name="christophe CHUECOS-FONT" userId="7e57acaa-4bc6-4644-8edc-0ecdded28594" providerId="ADAL" clId="{C2BEBF3A-ECBA-4860-AC25-66AB61261A96}" dt="2021-03-18T21:54:05.128" v="0" actId="47"/>
        <pc:sldMkLst>
          <pc:docMk/>
          <pc:sldMk cId="2831747057" sldId="258"/>
        </pc:sldMkLst>
      </pc:sldChg>
      <pc:sldChg chg="del">
        <pc:chgData name="christophe CHUECOS-FONT" userId="7e57acaa-4bc6-4644-8edc-0ecdded28594" providerId="ADAL" clId="{C2BEBF3A-ECBA-4860-AC25-66AB61261A96}" dt="2021-03-18T21:54:05.128" v="0" actId="47"/>
        <pc:sldMkLst>
          <pc:docMk/>
          <pc:sldMk cId="2174517492" sldId="259"/>
        </pc:sldMkLst>
      </pc:sldChg>
      <pc:sldChg chg="del">
        <pc:chgData name="christophe CHUECOS-FONT" userId="7e57acaa-4bc6-4644-8edc-0ecdded28594" providerId="ADAL" clId="{C2BEBF3A-ECBA-4860-AC25-66AB61261A96}" dt="2021-03-18T21:54:05.128" v="0" actId="47"/>
        <pc:sldMkLst>
          <pc:docMk/>
          <pc:sldMk cId="3018494457" sldId="266"/>
        </pc:sldMkLst>
      </pc:sldChg>
      <pc:sldChg chg="del">
        <pc:chgData name="christophe CHUECOS-FONT" userId="7e57acaa-4bc6-4644-8edc-0ecdded28594" providerId="ADAL" clId="{C2BEBF3A-ECBA-4860-AC25-66AB61261A96}" dt="2021-03-18T21:54:05.128" v="0" actId="47"/>
        <pc:sldMkLst>
          <pc:docMk/>
          <pc:sldMk cId="1765093222" sldId="267"/>
        </pc:sldMkLst>
      </pc:sldChg>
      <pc:sldChg chg="del">
        <pc:chgData name="christophe CHUECOS-FONT" userId="7e57acaa-4bc6-4644-8edc-0ecdded28594" providerId="ADAL" clId="{C2BEBF3A-ECBA-4860-AC25-66AB61261A96}" dt="2021-03-18T21:54:05.128" v="0" actId="47"/>
        <pc:sldMkLst>
          <pc:docMk/>
          <pc:sldMk cId="1677432768" sldId="297"/>
        </pc:sldMkLst>
      </pc:sldChg>
      <pc:sldChg chg="del">
        <pc:chgData name="christophe CHUECOS-FONT" userId="7e57acaa-4bc6-4644-8edc-0ecdded28594" providerId="ADAL" clId="{C2BEBF3A-ECBA-4860-AC25-66AB61261A96}" dt="2021-03-18T21:54:05.128" v="0" actId="47"/>
        <pc:sldMkLst>
          <pc:docMk/>
          <pc:sldMk cId="130980171" sldId="299"/>
        </pc:sldMkLst>
      </pc:sldChg>
      <pc:sldChg chg="del">
        <pc:chgData name="christophe CHUECOS-FONT" userId="7e57acaa-4bc6-4644-8edc-0ecdded28594" providerId="ADAL" clId="{C2BEBF3A-ECBA-4860-AC25-66AB61261A96}" dt="2021-03-18T21:54:05.128" v="0" actId="47"/>
        <pc:sldMkLst>
          <pc:docMk/>
          <pc:sldMk cId="2049130264" sldId="300"/>
        </pc:sldMkLst>
      </pc:sldChg>
      <pc:sldChg chg="del">
        <pc:chgData name="christophe CHUECOS-FONT" userId="7e57acaa-4bc6-4644-8edc-0ecdded28594" providerId="ADAL" clId="{C2BEBF3A-ECBA-4860-AC25-66AB61261A96}" dt="2021-03-18T21:54:05.128" v="0" actId="47"/>
        <pc:sldMkLst>
          <pc:docMk/>
          <pc:sldMk cId="3173007657" sldId="301"/>
        </pc:sldMkLst>
      </pc:sldChg>
      <pc:sldChg chg="del">
        <pc:chgData name="christophe CHUECOS-FONT" userId="7e57acaa-4bc6-4644-8edc-0ecdded28594" providerId="ADAL" clId="{C2BEBF3A-ECBA-4860-AC25-66AB61261A96}" dt="2021-03-18T21:54:05.128" v="0" actId="47"/>
        <pc:sldMkLst>
          <pc:docMk/>
          <pc:sldMk cId="1804052538" sldId="302"/>
        </pc:sldMkLst>
      </pc:sldChg>
      <pc:sldChg chg="del">
        <pc:chgData name="christophe CHUECOS-FONT" userId="7e57acaa-4bc6-4644-8edc-0ecdded28594" providerId="ADAL" clId="{C2BEBF3A-ECBA-4860-AC25-66AB61261A96}" dt="2021-03-18T21:54:05.128" v="0" actId="47"/>
        <pc:sldMkLst>
          <pc:docMk/>
          <pc:sldMk cId="2883904425" sldId="309"/>
        </pc:sldMkLst>
      </pc:sldChg>
      <pc:sldChg chg="del">
        <pc:chgData name="christophe CHUECOS-FONT" userId="7e57acaa-4bc6-4644-8edc-0ecdded28594" providerId="ADAL" clId="{C2BEBF3A-ECBA-4860-AC25-66AB61261A96}" dt="2021-03-18T22:22:38.942" v="258" actId="47"/>
        <pc:sldMkLst>
          <pc:docMk/>
          <pc:sldMk cId="1655996761" sldId="317"/>
        </pc:sldMkLst>
      </pc:sldChg>
      <pc:sldChg chg="add">
        <pc:chgData name="christophe CHUECOS-FONT" userId="7e57acaa-4bc6-4644-8edc-0ecdded28594" providerId="ADAL" clId="{C2BEBF3A-ECBA-4860-AC25-66AB61261A96}" dt="2021-03-18T22:54:09.324" v="856"/>
        <pc:sldMkLst>
          <pc:docMk/>
          <pc:sldMk cId="1271957293" sldId="338"/>
        </pc:sldMkLst>
      </pc:sldChg>
      <pc:sldChg chg="add">
        <pc:chgData name="christophe CHUECOS-FONT" userId="7e57acaa-4bc6-4644-8edc-0ecdded28594" providerId="ADAL" clId="{C2BEBF3A-ECBA-4860-AC25-66AB61261A96}" dt="2021-03-18T22:54:09.324" v="856"/>
        <pc:sldMkLst>
          <pc:docMk/>
          <pc:sldMk cId="2720677423" sldId="342"/>
        </pc:sldMkLst>
      </pc:sldChg>
      <pc:sldChg chg="del">
        <pc:chgData name="christophe CHUECOS-FONT" userId="7e57acaa-4bc6-4644-8edc-0ecdded28594" providerId="ADAL" clId="{C2BEBF3A-ECBA-4860-AC25-66AB61261A96}" dt="2021-03-18T21:54:05.128" v="0" actId="47"/>
        <pc:sldMkLst>
          <pc:docMk/>
          <pc:sldMk cId="649958680" sldId="672"/>
        </pc:sldMkLst>
      </pc:sldChg>
      <pc:sldChg chg="del">
        <pc:chgData name="christophe CHUECOS-FONT" userId="7e57acaa-4bc6-4644-8edc-0ecdded28594" providerId="ADAL" clId="{C2BEBF3A-ECBA-4860-AC25-66AB61261A96}" dt="2021-03-18T22:22:38.942" v="258" actId="47"/>
        <pc:sldMkLst>
          <pc:docMk/>
          <pc:sldMk cId="3843576302" sldId="677"/>
        </pc:sldMkLst>
      </pc:sldChg>
      <pc:sldChg chg="del">
        <pc:chgData name="christophe CHUECOS-FONT" userId="7e57acaa-4bc6-4644-8edc-0ecdded28594" providerId="ADAL" clId="{C2BEBF3A-ECBA-4860-AC25-66AB61261A96}" dt="2021-03-18T22:22:38.942" v="258" actId="47"/>
        <pc:sldMkLst>
          <pc:docMk/>
          <pc:sldMk cId="3945995144" sldId="779"/>
        </pc:sldMkLst>
      </pc:sldChg>
      <pc:sldChg chg="del">
        <pc:chgData name="christophe CHUECOS-FONT" userId="7e57acaa-4bc6-4644-8edc-0ecdded28594" providerId="ADAL" clId="{C2BEBF3A-ECBA-4860-AC25-66AB61261A96}" dt="2021-03-18T21:54:05.128" v="0" actId="47"/>
        <pc:sldMkLst>
          <pc:docMk/>
          <pc:sldMk cId="2909694736" sldId="802"/>
        </pc:sldMkLst>
      </pc:sldChg>
      <pc:sldChg chg="del">
        <pc:chgData name="christophe CHUECOS-FONT" userId="7e57acaa-4bc6-4644-8edc-0ecdded28594" providerId="ADAL" clId="{C2BEBF3A-ECBA-4860-AC25-66AB61261A96}" dt="2021-03-18T21:54:39.040" v="1" actId="47"/>
        <pc:sldMkLst>
          <pc:docMk/>
          <pc:sldMk cId="2502557485" sldId="803"/>
        </pc:sldMkLst>
      </pc:sldChg>
      <pc:sldChg chg="del">
        <pc:chgData name="christophe CHUECOS-FONT" userId="7e57acaa-4bc6-4644-8edc-0ecdded28594" providerId="ADAL" clId="{C2BEBF3A-ECBA-4860-AC25-66AB61261A96}" dt="2021-03-18T21:54:39.040" v="1" actId="47"/>
        <pc:sldMkLst>
          <pc:docMk/>
          <pc:sldMk cId="3840082568" sldId="820"/>
        </pc:sldMkLst>
      </pc:sldChg>
      <pc:sldChg chg="del">
        <pc:chgData name="christophe CHUECOS-FONT" userId="7e57acaa-4bc6-4644-8edc-0ecdded28594" providerId="ADAL" clId="{C2BEBF3A-ECBA-4860-AC25-66AB61261A96}" dt="2021-03-18T21:54:39.040" v="1" actId="47"/>
        <pc:sldMkLst>
          <pc:docMk/>
          <pc:sldMk cId="556005404" sldId="840"/>
        </pc:sldMkLst>
      </pc:sldChg>
      <pc:sldChg chg="del">
        <pc:chgData name="christophe CHUECOS-FONT" userId="7e57acaa-4bc6-4644-8edc-0ecdded28594" providerId="ADAL" clId="{C2BEBF3A-ECBA-4860-AC25-66AB61261A96}" dt="2021-03-18T22:22:38.942" v="258" actId="47"/>
        <pc:sldMkLst>
          <pc:docMk/>
          <pc:sldMk cId="2080613406" sldId="848"/>
        </pc:sldMkLst>
      </pc:sldChg>
      <pc:sldChg chg="del">
        <pc:chgData name="christophe CHUECOS-FONT" userId="7e57acaa-4bc6-4644-8edc-0ecdded28594" providerId="ADAL" clId="{C2BEBF3A-ECBA-4860-AC25-66AB61261A96}" dt="2021-03-18T22:22:38.942" v="258" actId="47"/>
        <pc:sldMkLst>
          <pc:docMk/>
          <pc:sldMk cId="2013905306" sldId="849"/>
        </pc:sldMkLst>
      </pc:sldChg>
      <pc:sldChg chg="del">
        <pc:chgData name="christophe CHUECOS-FONT" userId="7e57acaa-4bc6-4644-8edc-0ecdded28594" providerId="ADAL" clId="{C2BEBF3A-ECBA-4860-AC25-66AB61261A96}" dt="2021-03-18T22:22:38.942" v="258" actId="47"/>
        <pc:sldMkLst>
          <pc:docMk/>
          <pc:sldMk cId="2136421834" sldId="850"/>
        </pc:sldMkLst>
      </pc:sldChg>
      <pc:sldChg chg="del">
        <pc:chgData name="christophe CHUECOS-FONT" userId="7e57acaa-4bc6-4644-8edc-0ecdded28594" providerId="ADAL" clId="{C2BEBF3A-ECBA-4860-AC25-66AB61261A96}" dt="2021-03-18T22:22:38.942" v="258" actId="47"/>
        <pc:sldMkLst>
          <pc:docMk/>
          <pc:sldMk cId="1737365082" sldId="851"/>
        </pc:sldMkLst>
      </pc:sldChg>
      <pc:sldChg chg="del">
        <pc:chgData name="christophe CHUECOS-FONT" userId="7e57acaa-4bc6-4644-8edc-0ecdded28594" providerId="ADAL" clId="{C2BEBF3A-ECBA-4860-AC25-66AB61261A96}" dt="2021-03-18T21:54:39.040" v="1" actId="47"/>
        <pc:sldMkLst>
          <pc:docMk/>
          <pc:sldMk cId="363521892" sldId="852"/>
        </pc:sldMkLst>
      </pc:sldChg>
      <pc:sldChg chg="del">
        <pc:chgData name="christophe CHUECOS-FONT" userId="7e57acaa-4bc6-4644-8edc-0ecdded28594" providerId="ADAL" clId="{C2BEBF3A-ECBA-4860-AC25-66AB61261A96}" dt="2021-03-18T21:54:39.040" v="1" actId="47"/>
        <pc:sldMkLst>
          <pc:docMk/>
          <pc:sldMk cId="3501519798" sldId="853"/>
        </pc:sldMkLst>
      </pc:sldChg>
      <pc:sldChg chg="del">
        <pc:chgData name="christophe CHUECOS-FONT" userId="7e57acaa-4bc6-4644-8edc-0ecdded28594" providerId="ADAL" clId="{C2BEBF3A-ECBA-4860-AC25-66AB61261A96}" dt="2021-03-18T21:54:05.128" v="0" actId="47"/>
        <pc:sldMkLst>
          <pc:docMk/>
          <pc:sldMk cId="500929375" sldId="854"/>
        </pc:sldMkLst>
      </pc:sldChg>
      <pc:sldChg chg="del">
        <pc:chgData name="christophe CHUECOS-FONT" userId="7e57acaa-4bc6-4644-8edc-0ecdded28594" providerId="ADAL" clId="{C2BEBF3A-ECBA-4860-AC25-66AB61261A96}" dt="2021-03-18T22:22:38.942" v="258" actId="47"/>
        <pc:sldMkLst>
          <pc:docMk/>
          <pc:sldMk cId="502558103" sldId="855"/>
        </pc:sldMkLst>
      </pc:sldChg>
      <pc:sldChg chg="del">
        <pc:chgData name="christophe CHUECOS-FONT" userId="7e57acaa-4bc6-4644-8edc-0ecdded28594" providerId="ADAL" clId="{C2BEBF3A-ECBA-4860-AC25-66AB61261A96}" dt="2021-03-18T22:22:38.942" v="258" actId="47"/>
        <pc:sldMkLst>
          <pc:docMk/>
          <pc:sldMk cId="4231120075" sldId="856"/>
        </pc:sldMkLst>
      </pc:sldChg>
      <pc:sldChg chg="del">
        <pc:chgData name="christophe CHUECOS-FONT" userId="7e57acaa-4bc6-4644-8edc-0ecdded28594" providerId="ADAL" clId="{C2BEBF3A-ECBA-4860-AC25-66AB61261A96}" dt="2021-03-18T22:22:38.942" v="258" actId="47"/>
        <pc:sldMkLst>
          <pc:docMk/>
          <pc:sldMk cId="981759289" sldId="857"/>
        </pc:sldMkLst>
      </pc:sldChg>
      <pc:sldChg chg="del">
        <pc:chgData name="christophe CHUECOS-FONT" userId="7e57acaa-4bc6-4644-8edc-0ecdded28594" providerId="ADAL" clId="{C2BEBF3A-ECBA-4860-AC25-66AB61261A96}" dt="2021-03-18T21:54:46.634" v="2" actId="47"/>
        <pc:sldMkLst>
          <pc:docMk/>
          <pc:sldMk cId="363262154" sldId="858"/>
        </pc:sldMkLst>
      </pc:sldChg>
      <pc:sldChg chg="del">
        <pc:chgData name="christophe CHUECOS-FONT" userId="7e57acaa-4bc6-4644-8edc-0ecdded28594" providerId="ADAL" clId="{C2BEBF3A-ECBA-4860-AC25-66AB61261A96}" dt="2021-03-18T21:54:46.634" v="2" actId="47"/>
        <pc:sldMkLst>
          <pc:docMk/>
          <pc:sldMk cId="1680082296" sldId="859"/>
        </pc:sldMkLst>
      </pc:sldChg>
      <pc:sldChg chg="del">
        <pc:chgData name="christophe CHUECOS-FONT" userId="7e57acaa-4bc6-4644-8edc-0ecdded28594" providerId="ADAL" clId="{C2BEBF3A-ECBA-4860-AC25-66AB61261A96}" dt="2021-03-18T21:54:46.634" v="2" actId="47"/>
        <pc:sldMkLst>
          <pc:docMk/>
          <pc:sldMk cId="3596322850" sldId="860"/>
        </pc:sldMkLst>
      </pc:sldChg>
      <pc:sldChg chg="del">
        <pc:chgData name="christophe CHUECOS-FONT" userId="7e57acaa-4bc6-4644-8edc-0ecdded28594" providerId="ADAL" clId="{C2BEBF3A-ECBA-4860-AC25-66AB61261A96}" dt="2021-03-18T21:54:46.634" v="2" actId="47"/>
        <pc:sldMkLst>
          <pc:docMk/>
          <pc:sldMk cId="1183493075" sldId="861"/>
        </pc:sldMkLst>
      </pc:sldChg>
      <pc:sldChg chg="del">
        <pc:chgData name="christophe CHUECOS-FONT" userId="7e57acaa-4bc6-4644-8edc-0ecdded28594" providerId="ADAL" clId="{C2BEBF3A-ECBA-4860-AC25-66AB61261A96}" dt="2021-03-18T22:22:38.942" v="258" actId="47"/>
        <pc:sldMkLst>
          <pc:docMk/>
          <pc:sldMk cId="1270596968" sldId="863"/>
        </pc:sldMkLst>
      </pc:sldChg>
      <pc:sldChg chg="del">
        <pc:chgData name="christophe CHUECOS-FONT" userId="7e57acaa-4bc6-4644-8edc-0ecdded28594" providerId="ADAL" clId="{C2BEBF3A-ECBA-4860-AC25-66AB61261A96}" dt="2021-03-18T22:22:38.942" v="258" actId="47"/>
        <pc:sldMkLst>
          <pc:docMk/>
          <pc:sldMk cId="1279228181" sldId="864"/>
        </pc:sldMkLst>
      </pc:sldChg>
      <pc:sldChg chg="del">
        <pc:chgData name="christophe CHUECOS-FONT" userId="7e57acaa-4bc6-4644-8edc-0ecdded28594" providerId="ADAL" clId="{C2BEBF3A-ECBA-4860-AC25-66AB61261A96}" dt="2021-03-18T22:22:38.942" v="258" actId="47"/>
        <pc:sldMkLst>
          <pc:docMk/>
          <pc:sldMk cId="1272375052" sldId="865"/>
        </pc:sldMkLst>
      </pc:sldChg>
      <pc:sldChg chg="del">
        <pc:chgData name="christophe CHUECOS-FONT" userId="7e57acaa-4bc6-4644-8edc-0ecdded28594" providerId="ADAL" clId="{C2BEBF3A-ECBA-4860-AC25-66AB61261A96}" dt="2021-03-18T22:22:38.942" v="258" actId="47"/>
        <pc:sldMkLst>
          <pc:docMk/>
          <pc:sldMk cId="1840640440" sldId="866"/>
        </pc:sldMkLst>
      </pc:sldChg>
      <pc:sldChg chg="addSp delSp modSp add mod">
        <pc:chgData name="christophe CHUECOS-FONT" userId="7e57acaa-4bc6-4644-8edc-0ecdded28594" providerId="ADAL" clId="{C2BEBF3A-ECBA-4860-AC25-66AB61261A96}" dt="2021-03-18T22:32:26.886" v="598" actId="13822"/>
        <pc:sldMkLst>
          <pc:docMk/>
          <pc:sldMk cId="2561881984" sldId="890"/>
        </pc:sldMkLst>
        <pc:spChg chg="mod">
          <ac:chgData name="christophe CHUECOS-FONT" userId="7e57acaa-4bc6-4644-8edc-0ecdded28594" providerId="ADAL" clId="{C2BEBF3A-ECBA-4860-AC25-66AB61261A96}" dt="2021-03-18T22:27:09.862" v="419" actId="20577"/>
          <ac:spMkLst>
            <pc:docMk/>
            <pc:sldMk cId="2561881984" sldId="890"/>
            <ac:spMk id="2" creationId="{AEFCB68E-E041-4E46-A233-3C2208DA32CB}"/>
          </ac:spMkLst>
        </pc:spChg>
        <pc:spChg chg="del mod">
          <ac:chgData name="christophe CHUECOS-FONT" userId="7e57acaa-4bc6-4644-8edc-0ecdded28594" providerId="ADAL" clId="{C2BEBF3A-ECBA-4860-AC25-66AB61261A96}" dt="2021-03-18T22:30:06.490" v="485" actId="21"/>
          <ac:spMkLst>
            <pc:docMk/>
            <pc:sldMk cId="2561881984" sldId="890"/>
            <ac:spMk id="3" creationId="{9FA71A85-160A-4CFF-9241-BA71D421B86B}"/>
          </ac:spMkLst>
        </pc:spChg>
        <pc:spChg chg="add del mod">
          <ac:chgData name="christophe CHUECOS-FONT" userId="7e57acaa-4bc6-4644-8edc-0ecdded28594" providerId="ADAL" clId="{C2BEBF3A-ECBA-4860-AC25-66AB61261A96}" dt="2021-03-18T22:30:24.717" v="486" actId="1032"/>
          <ac:spMkLst>
            <pc:docMk/>
            <pc:sldMk cId="2561881984" sldId="890"/>
            <ac:spMk id="6" creationId="{E2B09787-EBA4-4F7F-B3DC-8EDC708E9D42}"/>
          </ac:spMkLst>
        </pc:spChg>
        <pc:graphicFrameChg chg="add del mod modGraphic">
          <ac:chgData name="christophe CHUECOS-FONT" userId="7e57acaa-4bc6-4644-8edc-0ecdded28594" providerId="ADAL" clId="{C2BEBF3A-ECBA-4860-AC25-66AB61261A96}" dt="2021-03-18T22:29:58.959" v="482" actId="1032"/>
          <ac:graphicFrameMkLst>
            <pc:docMk/>
            <pc:sldMk cId="2561881984" sldId="890"/>
            <ac:graphicFrameMk id="4" creationId="{0142870B-CDF0-4CA1-A568-2B7AF0EC7EC1}"/>
          </ac:graphicFrameMkLst>
        </pc:graphicFrameChg>
        <pc:graphicFrameChg chg="add mod modGraphic">
          <ac:chgData name="christophe CHUECOS-FONT" userId="7e57acaa-4bc6-4644-8edc-0ecdded28594" providerId="ADAL" clId="{C2BEBF3A-ECBA-4860-AC25-66AB61261A96}" dt="2021-03-18T22:32:26.886" v="598" actId="13822"/>
          <ac:graphicFrameMkLst>
            <pc:docMk/>
            <pc:sldMk cId="2561881984" sldId="890"/>
            <ac:graphicFrameMk id="7" creationId="{E256D12B-7717-428E-9F1F-CEAB66B37BB8}"/>
          </ac:graphicFrameMkLst>
        </pc:graphicFrameChg>
      </pc:sldChg>
      <pc:sldChg chg="addSp delSp modSp add mod">
        <pc:chgData name="christophe CHUECOS-FONT" userId="7e57acaa-4bc6-4644-8edc-0ecdded28594" providerId="ADAL" clId="{C2BEBF3A-ECBA-4860-AC25-66AB61261A96}" dt="2021-03-18T22:13:16.513" v="187" actId="14734"/>
        <pc:sldMkLst>
          <pc:docMk/>
          <pc:sldMk cId="162758596" sldId="891"/>
        </pc:sldMkLst>
        <pc:spChg chg="mod">
          <ac:chgData name="christophe CHUECOS-FONT" userId="7e57acaa-4bc6-4644-8edc-0ecdded28594" providerId="ADAL" clId="{C2BEBF3A-ECBA-4860-AC25-66AB61261A96}" dt="2021-03-18T22:10:16.097" v="179" actId="6549"/>
          <ac:spMkLst>
            <pc:docMk/>
            <pc:sldMk cId="162758596" sldId="891"/>
            <ac:spMk id="3" creationId="{9FA71A85-160A-4CFF-9241-BA71D421B86B}"/>
          </ac:spMkLst>
        </pc:spChg>
        <pc:spChg chg="add del mod">
          <ac:chgData name="christophe CHUECOS-FONT" userId="7e57acaa-4bc6-4644-8edc-0ecdded28594" providerId="ADAL" clId="{C2BEBF3A-ECBA-4860-AC25-66AB61261A96}" dt="2021-03-18T22:10:01.392" v="178"/>
          <ac:spMkLst>
            <pc:docMk/>
            <pc:sldMk cId="162758596" sldId="891"/>
            <ac:spMk id="5" creationId="{64E23044-CE04-4B94-850D-BD5548A88D42}"/>
          </ac:spMkLst>
        </pc:spChg>
        <pc:graphicFrameChg chg="add del mod">
          <ac:chgData name="christophe CHUECOS-FONT" userId="7e57acaa-4bc6-4644-8edc-0ecdded28594" providerId="ADAL" clId="{C2BEBF3A-ECBA-4860-AC25-66AB61261A96}" dt="2021-03-18T22:10:01.392" v="178"/>
          <ac:graphicFrameMkLst>
            <pc:docMk/>
            <pc:sldMk cId="162758596" sldId="891"/>
            <ac:graphicFrameMk id="4" creationId="{A71DFF4D-A8AC-479D-8ABA-950DEC91BB55}"/>
          </ac:graphicFrameMkLst>
        </pc:graphicFrameChg>
        <pc:graphicFrameChg chg="add mod modGraphic">
          <ac:chgData name="christophe CHUECOS-FONT" userId="7e57acaa-4bc6-4644-8edc-0ecdded28594" providerId="ADAL" clId="{C2BEBF3A-ECBA-4860-AC25-66AB61261A96}" dt="2021-03-18T22:13:16.513" v="187" actId="14734"/>
          <ac:graphicFrameMkLst>
            <pc:docMk/>
            <pc:sldMk cId="162758596" sldId="891"/>
            <ac:graphicFrameMk id="6" creationId="{90B6971D-E1FB-42BE-A7E9-5FA4D585EE92}"/>
          </ac:graphicFrameMkLst>
        </pc:graphicFrameChg>
      </pc:sldChg>
      <pc:sldChg chg="addSp modSp add mod">
        <pc:chgData name="christophe CHUECOS-FONT" userId="7e57acaa-4bc6-4644-8edc-0ecdded28594" providerId="ADAL" clId="{C2BEBF3A-ECBA-4860-AC25-66AB61261A96}" dt="2021-03-18T22:20:51.004" v="193" actId="14100"/>
        <pc:sldMkLst>
          <pc:docMk/>
          <pc:sldMk cId="3592509618" sldId="892"/>
        </pc:sldMkLst>
        <pc:spChg chg="mod">
          <ac:chgData name="christophe CHUECOS-FONT" userId="7e57acaa-4bc6-4644-8edc-0ecdded28594" providerId="ADAL" clId="{C2BEBF3A-ECBA-4860-AC25-66AB61261A96}" dt="2021-03-18T22:20:33.544" v="189" actId="6549"/>
          <ac:spMkLst>
            <pc:docMk/>
            <pc:sldMk cId="3592509618" sldId="892"/>
            <ac:spMk id="3" creationId="{9FA71A85-160A-4CFF-9241-BA71D421B86B}"/>
          </ac:spMkLst>
        </pc:spChg>
        <pc:picChg chg="add mod">
          <ac:chgData name="christophe CHUECOS-FONT" userId="7e57acaa-4bc6-4644-8edc-0ecdded28594" providerId="ADAL" clId="{C2BEBF3A-ECBA-4860-AC25-66AB61261A96}" dt="2021-03-18T22:20:51.004" v="193" actId="14100"/>
          <ac:picMkLst>
            <pc:docMk/>
            <pc:sldMk cId="3592509618" sldId="892"/>
            <ac:picMk id="5" creationId="{A1D02FCC-25C3-466A-AA38-333553E41D2F}"/>
          </ac:picMkLst>
        </pc:picChg>
      </pc:sldChg>
      <pc:sldChg chg="add ord">
        <pc:chgData name="christophe CHUECOS-FONT" userId="7e57acaa-4bc6-4644-8edc-0ecdded28594" providerId="ADAL" clId="{C2BEBF3A-ECBA-4860-AC25-66AB61261A96}" dt="2021-03-18T22:22:59.717" v="261"/>
        <pc:sldMkLst>
          <pc:docMk/>
          <pc:sldMk cId="1833177139" sldId="893"/>
        </pc:sldMkLst>
      </pc:sldChg>
      <pc:sldChg chg="modSp add del mod ord">
        <pc:chgData name="christophe CHUECOS-FONT" userId="7e57acaa-4bc6-4644-8edc-0ecdded28594" providerId="ADAL" clId="{C2BEBF3A-ECBA-4860-AC25-66AB61261A96}" dt="2021-03-18T22:34:13.350" v="633" actId="47"/>
        <pc:sldMkLst>
          <pc:docMk/>
          <pc:sldMk cId="769505132" sldId="894"/>
        </pc:sldMkLst>
        <pc:spChg chg="mod">
          <ac:chgData name="christophe CHUECOS-FONT" userId="7e57acaa-4bc6-4644-8edc-0ecdded28594" providerId="ADAL" clId="{C2BEBF3A-ECBA-4860-AC25-66AB61261A96}" dt="2021-03-18T22:26:54.705" v="415" actId="20577"/>
          <ac:spMkLst>
            <pc:docMk/>
            <pc:sldMk cId="769505132" sldId="894"/>
            <ac:spMk id="3" creationId="{9FA71A85-160A-4CFF-9241-BA71D421B86B}"/>
          </ac:spMkLst>
        </pc:spChg>
      </pc:sldChg>
      <pc:sldChg chg="modSp add mod ord">
        <pc:chgData name="christophe CHUECOS-FONT" userId="7e57acaa-4bc6-4644-8edc-0ecdded28594" providerId="ADAL" clId="{C2BEBF3A-ECBA-4860-AC25-66AB61261A96}" dt="2021-03-18T22:31:38.669" v="596" actId="20577"/>
        <pc:sldMkLst>
          <pc:docMk/>
          <pc:sldMk cId="3528439896" sldId="895"/>
        </pc:sldMkLst>
        <pc:spChg chg="mod">
          <ac:chgData name="christophe CHUECOS-FONT" userId="7e57acaa-4bc6-4644-8edc-0ecdded28594" providerId="ADAL" clId="{C2BEBF3A-ECBA-4860-AC25-66AB61261A96}" dt="2021-03-18T22:31:38.669" v="596" actId="20577"/>
          <ac:spMkLst>
            <pc:docMk/>
            <pc:sldMk cId="3528439896" sldId="895"/>
            <ac:spMk id="2" creationId="{AEFCB68E-E041-4E46-A233-3C2208DA32CB}"/>
          </ac:spMkLst>
        </pc:spChg>
      </pc:sldChg>
      <pc:sldChg chg="addSp delSp modSp new mod setBg">
        <pc:chgData name="christophe CHUECOS-FONT" userId="7e57acaa-4bc6-4644-8edc-0ecdded28594" providerId="ADAL" clId="{C2BEBF3A-ECBA-4860-AC25-66AB61261A96}" dt="2021-03-18T22:33:43.651" v="627" actId="14100"/>
        <pc:sldMkLst>
          <pc:docMk/>
          <pc:sldMk cId="2970499838" sldId="896"/>
        </pc:sldMkLst>
        <pc:spChg chg="mod">
          <ac:chgData name="christophe CHUECOS-FONT" userId="7e57acaa-4bc6-4644-8edc-0ecdded28594" providerId="ADAL" clId="{C2BEBF3A-ECBA-4860-AC25-66AB61261A96}" dt="2021-03-18T22:33:43.651" v="627" actId="14100"/>
          <ac:spMkLst>
            <pc:docMk/>
            <pc:sldMk cId="2970499838" sldId="896"/>
            <ac:spMk id="2" creationId="{63C23A44-953E-4DCE-A2FC-7526BBD520AD}"/>
          </ac:spMkLst>
        </pc:spChg>
        <pc:spChg chg="del">
          <ac:chgData name="christophe CHUECOS-FONT" userId="7e57acaa-4bc6-4644-8edc-0ecdded28594" providerId="ADAL" clId="{C2BEBF3A-ECBA-4860-AC25-66AB61261A96}" dt="2021-03-18T22:33:31.763" v="612" actId="26606"/>
          <ac:spMkLst>
            <pc:docMk/>
            <pc:sldMk cId="2970499838" sldId="896"/>
            <ac:spMk id="3" creationId="{934AA38B-5BF8-4BF2-BBA3-C8382E081187}"/>
          </ac:spMkLst>
        </pc:spChg>
        <pc:spChg chg="add">
          <ac:chgData name="christophe CHUECOS-FONT" userId="7e57acaa-4bc6-4644-8edc-0ecdded28594" providerId="ADAL" clId="{C2BEBF3A-ECBA-4860-AC25-66AB61261A96}" dt="2021-03-18T22:33:31.763" v="612" actId="26606"/>
          <ac:spMkLst>
            <pc:docMk/>
            <pc:sldMk cId="2970499838" sldId="896"/>
            <ac:spMk id="9" creationId="{E91DC736-0EF8-4F87-9146-EBF1D2EE4D3D}"/>
          </ac:spMkLst>
        </pc:spChg>
        <pc:spChg chg="add">
          <ac:chgData name="christophe CHUECOS-FONT" userId="7e57acaa-4bc6-4644-8edc-0ecdded28594" providerId="ADAL" clId="{C2BEBF3A-ECBA-4860-AC25-66AB61261A96}" dt="2021-03-18T22:33:31.763" v="612" actId="26606"/>
          <ac:spMkLst>
            <pc:docMk/>
            <pc:sldMk cId="2970499838" sldId="896"/>
            <ac:spMk id="11" creationId="{097CD68E-23E3-4007-8847-CD0944C4F7BE}"/>
          </ac:spMkLst>
        </pc:spChg>
        <pc:spChg chg="add">
          <ac:chgData name="christophe CHUECOS-FONT" userId="7e57acaa-4bc6-4644-8edc-0ecdded28594" providerId="ADAL" clId="{C2BEBF3A-ECBA-4860-AC25-66AB61261A96}" dt="2021-03-18T22:33:31.763" v="612" actId="26606"/>
          <ac:spMkLst>
            <pc:docMk/>
            <pc:sldMk cId="2970499838" sldId="896"/>
            <ac:spMk id="13" creationId="{AF2F604E-43BE-4DC3-B983-E071523364F8}"/>
          </ac:spMkLst>
        </pc:spChg>
        <pc:spChg chg="add">
          <ac:chgData name="christophe CHUECOS-FONT" userId="7e57acaa-4bc6-4644-8edc-0ecdded28594" providerId="ADAL" clId="{C2BEBF3A-ECBA-4860-AC25-66AB61261A96}" dt="2021-03-18T22:33:31.763" v="612" actId="26606"/>
          <ac:spMkLst>
            <pc:docMk/>
            <pc:sldMk cId="2970499838" sldId="896"/>
            <ac:spMk id="15" creationId="{08C9B587-E65E-4B52-B37C-ABEBB6E87928}"/>
          </ac:spMkLst>
        </pc:spChg>
        <pc:picChg chg="add">
          <ac:chgData name="christophe CHUECOS-FONT" userId="7e57acaa-4bc6-4644-8edc-0ecdded28594" providerId="ADAL" clId="{C2BEBF3A-ECBA-4860-AC25-66AB61261A96}" dt="2021-03-18T22:33:31.763" v="612" actId="26606"/>
          <ac:picMkLst>
            <pc:docMk/>
            <pc:sldMk cId="2970499838" sldId="896"/>
            <ac:picMk id="5" creationId="{040A7521-ECAB-4BBC-ADFA-3C6D881ABFA4}"/>
          </ac:picMkLst>
        </pc:picChg>
      </pc:sldChg>
      <pc:sldChg chg="new del">
        <pc:chgData name="christophe CHUECOS-FONT" userId="7e57acaa-4bc6-4644-8edc-0ecdded28594" providerId="ADAL" clId="{C2BEBF3A-ECBA-4860-AC25-66AB61261A96}" dt="2021-03-18T22:33:53.591" v="629" actId="47"/>
        <pc:sldMkLst>
          <pc:docMk/>
          <pc:sldMk cId="1467064995" sldId="897"/>
        </pc:sldMkLst>
      </pc:sldChg>
      <pc:sldChg chg="modSp add mod ord">
        <pc:chgData name="christophe CHUECOS-FONT" userId="7e57acaa-4bc6-4644-8edc-0ecdded28594" providerId="ADAL" clId="{C2BEBF3A-ECBA-4860-AC25-66AB61261A96}" dt="2021-03-18T22:35:40.180" v="708" actId="20577"/>
        <pc:sldMkLst>
          <pc:docMk/>
          <pc:sldMk cId="3210478480" sldId="897"/>
        </pc:sldMkLst>
        <pc:spChg chg="mod">
          <ac:chgData name="christophe CHUECOS-FONT" userId="7e57acaa-4bc6-4644-8edc-0ecdded28594" providerId="ADAL" clId="{C2BEBF3A-ECBA-4860-AC25-66AB61261A96}" dt="2021-03-18T22:35:40.180" v="708" actId="20577"/>
          <ac:spMkLst>
            <pc:docMk/>
            <pc:sldMk cId="3210478480" sldId="897"/>
            <ac:spMk id="2" creationId="{63C23A44-953E-4DCE-A2FC-7526BBD520AD}"/>
          </ac:spMkLst>
        </pc:spChg>
      </pc:sldChg>
      <pc:sldChg chg="addSp delSp modSp add mod setClrOvrMap">
        <pc:chgData name="christophe CHUECOS-FONT" userId="7e57acaa-4bc6-4644-8edc-0ecdded28594" providerId="ADAL" clId="{C2BEBF3A-ECBA-4860-AC25-66AB61261A96}" dt="2021-03-18T22:50:32.702" v="829" actId="26606"/>
        <pc:sldMkLst>
          <pc:docMk/>
          <pc:sldMk cId="1288409538" sldId="898"/>
        </pc:sldMkLst>
        <pc:spChg chg="mod">
          <ac:chgData name="christophe CHUECOS-FONT" userId="7e57acaa-4bc6-4644-8edc-0ecdded28594" providerId="ADAL" clId="{C2BEBF3A-ECBA-4860-AC25-66AB61261A96}" dt="2021-03-18T22:50:32.702" v="829" actId="26606"/>
          <ac:spMkLst>
            <pc:docMk/>
            <pc:sldMk cId="1288409538" sldId="898"/>
            <ac:spMk id="2" creationId="{63C23A44-953E-4DCE-A2FC-7526BBD520AD}"/>
          </ac:spMkLst>
        </pc:spChg>
        <pc:spChg chg="del">
          <ac:chgData name="christophe CHUECOS-FONT" userId="7e57acaa-4bc6-4644-8edc-0ecdded28594" providerId="ADAL" clId="{C2BEBF3A-ECBA-4860-AC25-66AB61261A96}" dt="2021-03-18T22:50:32.702" v="829" actId="26606"/>
          <ac:spMkLst>
            <pc:docMk/>
            <pc:sldMk cId="1288409538" sldId="898"/>
            <ac:spMk id="9" creationId="{E91DC736-0EF8-4F87-9146-EBF1D2EE4D3D}"/>
          </ac:spMkLst>
        </pc:spChg>
        <pc:spChg chg="del">
          <ac:chgData name="christophe CHUECOS-FONT" userId="7e57acaa-4bc6-4644-8edc-0ecdded28594" providerId="ADAL" clId="{C2BEBF3A-ECBA-4860-AC25-66AB61261A96}" dt="2021-03-18T22:50:32.702" v="829" actId="26606"/>
          <ac:spMkLst>
            <pc:docMk/>
            <pc:sldMk cId="1288409538" sldId="898"/>
            <ac:spMk id="11" creationId="{097CD68E-23E3-4007-8847-CD0944C4F7BE}"/>
          </ac:spMkLst>
        </pc:spChg>
        <pc:spChg chg="del">
          <ac:chgData name="christophe CHUECOS-FONT" userId="7e57acaa-4bc6-4644-8edc-0ecdded28594" providerId="ADAL" clId="{C2BEBF3A-ECBA-4860-AC25-66AB61261A96}" dt="2021-03-18T22:50:32.702" v="829" actId="26606"/>
          <ac:spMkLst>
            <pc:docMk/>
            <pc:sldMk cId="1288409538" sldId="898"/>
            <ac:spMk id="13" creationId="{AF2F604E-43BE-4DC3-B983-E071523364F8}"/>
          </ac:spMkLst>
        </pc:spChg>
        <pc:spChg chg="del">
          <ac:chgData name="christophe CHUECOS-FONT" userId="7e57acaa-4bc6-4644-8edc-0ecdded28594" providerId="ADAL" clId="{C2BEBF3A-ECBA-4860-AC25-66AB61261A96}" dt="2021-03-18T22:50:32.702" v="829" actId="26606"/>
          <ac:spMkLst>
            <pc:docMk/>
            <pc:sldMk cId="1288409538" sldId="898"/>
            <ac:spMk id="15" creationId="{08C9B587-E65E-4B52-B37C-ABEBB6E87928}"/>
          </ac:spMkLst>
        </pc:spChg>
        <pc:spChg chg="add">
          <ac:chgData name="christophe CHUECOS-FONT" userId="7e57acaa-4bc6-4644-8edc-0ecdded28594" providerId="ADAL" clId="{C2BEBF3A-ECBA-4860-AC25-66AB61261A96}" dt="2021-03-18T22:50:32.702" v="829" actId="26606"/>
          <ac:spMkLst>
            <pc:docMk/>
            <pc:sldMk cId="1288409538" sldId="898"/>
            <ac:spMk id="20" creationId="{5A59F003-E00A-43F9-91DC-CC54E3B87466}"/>
          </ac:spMkLst>
        </pc:spChg>
        <pc:spChg chg="add">
          <ac:chgData name="christophe CHUECOS-FONT" userId="7e57acaa-4bc6-4644-8edc-0ecdded28594" providerId="ADAL" clId="{C2BEBF3A-ECBA-4860-AC25-66AB61261A96}" dt="2021-03-18T22:50:32.702" v="829" actId="26606"/>
          <ac:spMkLst>
            <pc:docMk/>
            <pc:sldMk cId="1288409538" sldId="898"/>
            <ac:spMk id="22" creationId="{D74A4382-E3AD-430A-9A1F-DFA3E0E77A7D}"/>
          </ac:spMkLst>
        </pc:spChg>
        <pc:spChg chg="add">
          <ac:chgData name="christophe CHUECOS-FONT" userId="7e57acaa-4bc6-4644-8edc-0ecdded28594" providerId="ADAL" clId="{C2BEBF3A-ECBA-4860-AC25-66AB61261A96}" dt="2021-03-18T22:50:32.702" v="829" actId="26606"/>
          <ac:spMkLst>
            <pc:docMk/>
            <pc:sldMk cId="1288409538" sldId="898"/>
            <ac:spMk id="24" creationId="{79F40191-0F44-4FD1-82CC-ACB507C14BE6}"/>
          </ac:spMkLst>
        </pc:spChg>
        <pc:picChg chg="mod">
          <ac:chgData name="christophe CHUECOS-FONT" userId="7e57acaa-4bc6-4644-8edc-0ecdded28594" providerId="ADAL" clId="{C2BEBF3A-ECBA-4860-AC25-66AB61261A96}" dt="2021-03-18T22:50:32.702" v="829" actId="26606"/>
          <ac:picMkLst>
            <pc:docMk/>
            <pc:sldMk cId="1288409538" sldId="898"/>
            <ac:picMk id="5" creationId="{040A7521-ECAB-4BBC-ADFA-3C6D881ABFA4}"/>
          </ac:picMkLst>
        </pc:picChg>
      </pc:sldChg>
      <pc:sldChg chg="addSp delSp modSp add mod ord">
        <pc:chgData name="christophe CHUECOS-FONT" userId="7e57acaa-4bc6-4644-8edc-0ecdded28594" providerId="ADAL" clId="{C2BEBF3A-ECBA-4860-AC25-66AB61261A96}" dt="2021-03-18T22:39:54.948" v="807" actId="14100"/>
        <pc:sldMkLst>
          <pc:docMk/>
          <pc:sldMk cId="3763403550" sldId="899"/>
        </pc:sldMkLst>
        <pc:spChg chg="mod">
          <ac:chgData name="christophe CHUECOS-FONT" userId="7e57acaa-4bc6-4644-8edc-0ecdded28594" providerId="ADAL" clId="{C2BEBF3A-ECBA-4860-AC25-66AB61261A96}" dt="2021-03-18T22:39:54.948" v="807" actId="14100"/>
          <ac:spMkLst>
            <pc:docMk/>
            <pc:sldMk cId="3763403550" sldId="899"/>
            <ac:spMk id="2" creationId="{AEFCB68E-E041-4E46-A233-3C2208DA32CB}"/>
          </ac:spMkLst>
        </pc:spChg>
        <pc:spChg chg="mod">
          <ac:chgData name="christophe CHUECOS-FONT" userId="7e57acaa-4bc6-4644-8edc-0ecdded28594" providerId="ADAL" clId="{C2BEBF3A-ECBA-4860-AC25-66AB61261A96}" dt="2021-03-18T22:38:23.024" v="798" actId="26606"/>
          <ac:spMkLst>
            <pc:docMk/>
            <pc:sldMk cId="3763403550" sldId="899"/>
            <ac:spMk id="3" creationId="{9FA71A85-160A-4CFF-9241-BA71D421B86B}"/>
          </ac:spMkLst>
        </pc:spChg>
        <pc:spChg chg="add del">
          <ac:chgData name="christophe CHUECOS-FONT" userId="7e57acaa-4bc6-4644-8edc-0ecdded28594" providerId="ADAL" clId="{C2BEBF3A-ECBA-4860-AC25-66AB61261A96}" dt="2021-03-18T22:38:23.024" v="798" actId="26606"/>
          <ac:spMkLst>
            <pc:docMk/>
            <pc:sldMk cId="3763403550" sldId="899"/>
            <ac:spMk id="17" creationId="{100EDD19-6802-4EC3-95CE-CFFAB042CFD6}"/>
          </ac:spMkLst>
        </pc:spChg>
        <pc:spChg chg="add del">
          <ac:chgData name="christophe CHUECOS-FONT" userId="7e57acaa-4bc6-4644-8edc-0ecdded28594" providerId="ADAL" clId="{C2BEBF3A-ECBA-4860-AC25-66AB61261A96}" dt="2021-03-18T22:38:23.024" v="798" actId="26606"/>
          <ac:spMkLst>
            <pc:docMk/>
            <pc:sldMk cId="3763403550" sldId="899"/>
            <ac:spMk id="19" creationId="{DB17E863-922E-4C26-BD64-E8FD41D28661}"/>
          </ac:spMkLst>
        </pc:spChg>
        <pc:spChg chg="add del">
          <ac:chgData name="christophe CHUECOS-FONT" userId="7e57acaa-4bc6-4644-8edc-0ecdded28594" providerId="ADAL" clId="{C2BEBF3A-ECBA-4860-AC25-66AB61261A96}" dt="2021-03-18T22:38:22.994" v="797" actId="26606"/>
          <ac:spMkLst>
            <pc:docMk/>
            <pc:sldMk cId="3763403550" sldId="899"/>
            <ac:spMk id="24" creationId="{0B9EE3F3-89B7-43C3-8651-C4C96830993D}"/>
          </ac:spMkLst>
        </pc:spChg>
        <pc:spChg chg="add del">
          <ac:chgData name="christophe CHUECOS-FONT" userId="7e57acaa-4bc6-4644-8edc-0ecdded28594" providerId="ADAL" clId="{C2BEBF3A-ECBA-4860-AC25-66AB61261A96}" dt="2021-03-18T22:38:22.994" v="797" actId="26606"/>
          <ac:spMkLst>
            <pc:docMk/>
            <pc:sldMk cId="3763403550" sldId="899"/>
            <ac:spMk id="26" creationId="{33AE4636-AEEC-45D6-84D4-7AC2DA48ECF8}"/>
          </ac:spMkLst>
        </pc:spChg>
        <pc:spChg chg="add del">
          <ac:chgData name="christophe CHUECOS-FONT" userId="7e57acaa-4bc6-4644-8edc-0ecdded28594" providerId="ADAL" clId="{C2BEBF3A-ECBA-4860-AC25-66AB61261A96}" dt="2021-03-18T22:38:22.994" v="797" actId="26606"/>
          <ac:spMkLst>
            <pc:docMk/>
            <pc:sldMk cId="3763403550" sldId="899"/>
            <ac:spMk id="28" creationId="{8D9CE0F4-2EB2-4F1F-8AAC-DB3571D9FE10}"/>
          </ac:spMkLst>
        </pc:spChg>
        <pc:spChg chg="add">
          <ac:chgData name="christophe CHUECOS-FONT" userId="7e57acaa-4bc6-4644-8edc-0ecdded28594" providerId="ADAL" clId="{C2BEBF3A-ECBA-4860-AC25-66AB61261A96}" dt="2021-03-18T22:38:23.024" v="798" actId="26606"/>
          <ac:spMkLst>
            <pc:docMk/>
            <pc:sldMk cId="3763403550" sldId="899"/>
            <ac:spMk id="30" creationId="{0570A85B-3810-4F95-97B0-CBF4CCDB381C}"/>
          </ac:spMkLst>
        </pc:spChg>
        <pc:spChg chg="add">
          <ac:chgData name="christophe CHUECOS-FONT" userId="7e57acaa-4bc6-4644-8edc-0ecdded28594" providerId="ADAL" clId="{C2BEBF3A-ECBA-4860-AC25-66AB61261A96}" dt="2021-03-18T22:38:23.024" v="798" actId="26606"/>
          <ac:spMkLst>
            <pc:docMk/>
            <pc:sldMk cId="3763403550" sldId="899"/>
            <ac:spMk id="31" creationId="{2550BE34-C2B8-49B8-8519-67A8CAD51AE9}"/>
          </ac:spMkLst>
        </pc:spChg>
        <pc:spChg chg="add">
          <ac:chgData name="christophe CHUECOS-FONT" userId="7e57acaa-4bc6-4644-8edc-0ecdded28594" providerId="ADAL" clId="{C2BEBF3A-ECBA-4860-AC25-66AB61261A96}" dt="2021-03-18T22:38:23.024" v="798" actId="26606"/>
          <ac:spMkLst>
            <pc:docMk/>
            <pc:sldMk cId="3763403550" sldId="899"/>
            <ac:spMk id="32" creationId="{A7457DD9-5A45-400A-AB4B-4B4EDECA25F1}"/>
          </ac:spMkLst>
        </pc:spChg>
        <pc:spChg chg="add">
          <ac:chgData name="christophe CHUECOS-FONT" userId="7e57acaa-4bc6-4644-8edc-0ecdded28594" providerId="ADAL" clId="{C2BEBF3A-ECBA-4860-AC25-66AB61261A96}" dt="2021-03-18T22:38:23.024" v="798" actId="26606"/>
          <ac:spMkLst>
            <pc:docMk/>
            <pc:sldMk cId="3763403550" sldId="899"/>
            <ac:spMk id="33" creationId="{441CF7D6-A660-431A-B0BB-140A0D5556B6}"/>
          </ac:spMkLst>
        </pc:spChg>
        <pc:graphicFrameChg chg="add mod modGraphic">
          <ac:chgData name="christophe CHUECOS-FONT" userId="7e57acaa-4bc6-4644-8edc-0ecdded28594" providerId="ADAL" clId="{C2BEBF3A-ECBA-4860-AC25-66AB61261A96}" dt="2021-03-18T22:39:28.915" v="802" actId="207"/>
          <ac:graphicFrameMkLst>
            <pc:docMk/>
            <pc:sldMk cId="3763403550" sldId="899"/>
            <ac:graphicFrameMk id="4" creationId="{899E9AA8-912A-43B7-A4FB-BE9A9DE6E87E}"/>
          </ac:graphicFrameMkLst>
        </pc:graphicFrameChg>
        <pc:picChg chg="del">
          <ac:chgData name="christophe CHUECOS-FONT" userId="7e57acaa-4bc6-4644-8edc-0ecdded28594" providerId="ADAL" clId="{C2BEBF3A-ECBA-4860-AC25-66AB61261A96}" dt="2021-03-18T22:36:48.765" v="750" actId="478"/>
          <ac:picMkLst>
            <pc:docMk/>
            <pc:sldMk cId="3763403550" sldId="899"/>
            <ac:picMk id="5" creationId="{A1D02FCC-25C3-466A-AA38-333553E41D2F}"/>
          </ac:picMkLst>
        </pc:picChg>
      </pc:sldChg>
      <pc:sldChg chg="addSp delSp modSp add del mod ord">
        <pc:chgData name="christophe CHUECOS-FONT" userId="7e57acaa-4bc6-4644-8edc-0ecdded28594" providerId="ADAL" clId="{C2BEBF3A-ECBA-4860-AC25-66AB61261A96}" dt="2021-03-18T22:49:45.438" v="825" actId="47"/>
        <pc:sldMkLst>
          <pc:docMk/>
          <pc:sldMk cId="1354499749" sldId="900"/>
        </pc:sldMkLst>
        <pc:spChg chg="mod">
          <ac:chgData name="christophe CHUECOS-FONT" userId="7e57acaa-4bc6-4644-8edc-0ecdded28594" providerId="ADAL" clId="{C2BEBF3A-ECBA-4860-AC25-66AB61261A96}" dt="2021-03-18T22:40:19.563" v="810" actId="20577"/>
          <ac:spMkLst>
            <pc:docMk/>
            <pc:sldMk cId="1354499749" sldId="900"/>
            <ac:spMk id="2" creationId="{AEFCB68E-E041-4E46-A233-3C2208DA32CB}"/>
          </ac:spMkLst>
        </pc:spChg>
        <pc:graphicFrameChg chg="del modGraphic">
          <ac:chgData name="christophe CHUECOS-FONT" userId="7e57acaa-4bc6-4644-8edc-0ecdded28594" providerId="ADAL" clId="{C2BEBF3A-ECBA-4860-AC25-66AB61261A96}" dt="2021-03-18T22:48:11.265" v="814" actId="478"/>
          <ac:graphicFrameMkLst>
            <pc:docMk/>
            <pc:sldMk cId="1354499749" sldId="900"/>
            <ac:graphicFrameMk id="4" creationId="{899E9AA8-912A-43B7-A4FB-BE9A9DE6E87E}"/>
          </ac:graphicFrameMkLst>
        </pc:graphicFrameChg>
        <pc:picChg chg="add mod">
          <ac:chgData name="christophe CHUECOS-FONT" userId="7e57acaa-4bc6-4644-8edc-0ecdded28594" providerId="ADAL" clId="{C2BEBF3A-ECBA-4860-AC25-66AB61261A96}" dt="2021-03-18T22:48:49.498" v="817" actId="14100"/>
          <ac:picMkLst>
            <pc:docMk/>
            <pc:sldMk cId="1354499749" sldId="900"/>
            <ac:picMk id="6" creationId="{97F6DE1E-D78E-4F04-A0E2-7B5A8D9AE6C6}"/>
          </ac:picMkLst>
        </pc:picChg>
      </pc:sldChg>
      <pc:sldChg chg="addSp delSp modSp new mod">
        <pc:chgData name="christophe CHUECOS-FONT" userId="7e57acaa-4bc6-4644-8edc-0ecdded28594" providerId="ADAL" clId="{C2BEBF3A-ECBA-4860-AC25-66AB61261A96}" dt="2021-03-18T22:49:27.867" v="823" actId="14100"/>
        <pc:sldMkLst>
          <pc:docMk/>
          <pc:sldMk cId="456064155" sldId="901"/>
        </pc:sldMkLst>
        <pc:spChg chg="del mod">
          <ac:chgData name="christophe CHUECOS-FONT" userId="7e57acaa-4bc6-4644-8edc-0ecdded28594" providerId="ADAL" clId="{C2BEBF3A-ECBA-4860-AC25-66AB61261A96}" dt="2021-03-18T22:49:20.690" v="821" actId="21"/>
          <ac:spMkLst>
            <pc:docMk/>
            <pc:sldMk cId="456064155" sldId="901"/>
            <ac:spMk id="2" creationId="{563C3254-B9AA-4645-B47F-E86EDD9EE1B8}"/>
          </ac:spMkLst>
        </pc:spChg>
        <pc:spChg chg="del">
          <ac:chgData name="christophe CHUECOS-FONT" userId="7e57acaa-4bc6-4644-8edc-0ecdded28594" providerId="ADAL" clId="{C2BEBF3A-ECBA-4860-AC25-66AB61261A96}" dt="2021-03-18T22:49:13.704" v="819" actId="931"/>
          <ac:spMkLst>
            <pc:docMk/>
            <pc:sldMk cId="456064155" sldId="901"/>
            <ac:spMk id="3" creationId="{247BF5D3-CBCB-4451-B5D9-9A160E93ADC1}"/>
          </ac:spMkLst>
        </pc:spChg>
        <pc:picChg chg="add mod">
          <ac:chgData name="christophe CHUECOS-FONT" userId="7e57acaa-4bc6-4644-8edc-0ecdded28594" providerId="ADAL" clId="{C2BEBF3A-ECBA-4860-AC25-66AB61261A96}" dt="2021-03-18T22:49:27.867" v="823" actId="14100"/>
          <ac:picMkLst>
            <pc:docMk/>
            <pc:sldMk cId="456064155" sldId="901"/>
            <ac:picMk id="5" creationId="{9E5A8C8C-819C-46F4-AB03-862877E6AC92}"/>
          </ac:picMkLst>
        </pc:picChg>
      </pc:sldChg>
      <pc:sldChg chg="modSp add mod">
        <pc:chgData name="christophe CHUECOS-FONT" userId="7e57acaa-4bc6-4644-8edc-0ecdded28594" providerId="ADAL" clId="{C2BEBF3A-ECBA-4860-AC25-66AB61261A96}" dt="2021-03-18T22:50:07.949" v="827" actId="14100"/>
        <pc:sldMkLst>
          <pc:docMk/>
          <pc:sldMk cId="3566007874" sldId="902"/>
        </pc:sldMkLst>
        <pc:picChg chg="mod">
          <ac:chgData name="christophe CHUECOS-FONT" userId="7e57acaa-4bc6-4644-8edc-0ecdded28594" providerId="ADAL" clId="{C2BEBF3A-ECBA-4860-AC25-66AB61261A96}" dt="2021-03-18T22:50:07.949" v="827" actId="14100"/>
          <ac:picMkLst>
            <pc:docMk/>
            <pc:sldMk cId="3566007874" sldId="902"/>
            <ac:picMk id="5" creationId="{9E5A8C8C-819C-46F4-AB03-862877E6AC92}"/>
          </ac:picMkLst>
        </pc:picChg>
      </pc:sldChg>
      <pc:sldChg chg="addSp modSp new mod setBg">
        <pc:chgData name="christophe CHUECOS-FONT" userId="7e57acaa-4bc6-4644-8edc-0ecdded28594" providerId="ADAL" clId="{C2BEBF3A-ECBA-4860-AC25-66AB61261A96}" dt="2021-03-18T23:37:09.809" v="1693" actId="26606"/>
        <pc:sldMkLst>
          <pc:docMk/>
          <pc:sldMk cId="518596460" sldId="903"/>
        </pc:sldMkLst>
        <pc:spChg chg="mod">
          <ac:chgData name="christophe CHUECOS-FONT" userId="7e57acaa-4bc6-4644-8edc-0ecdded28594" providerId="ADAL" clId="{C2BEBF3A-ECBA-4860-AC25-66AB61261A96}" dt="2021-03-18T23:37:09.809" v="1693" actId="26606"/>
          <ac:spMkLst>
            <pc:docMk/>
            <pc:sldMk cId="518596460" sldId="903"/>
            <ac:spMk id="2" creationId="{41644713-AF21-4543-94FE-A96FEBAA2B11}"/>
          </ac:spMkLst>
        </pc:spChg>
        <pc:spChg chg="mod">
          <ac:chgData name="christophe CHUECOS-FONT" userId="7e57acaa-4bc6-4644-8edc-0ecdded28594" providerId="ADAL" clId="{C2BEBF3A-ECBA-4860-AC25-66AB61261A96}" dt="2021-03-18T23:37:09.809" v="1693" actId="26606"/>
          <ac:spMkLst>
            <pc:docMk/>
            <pc:sldMk cId="518596460" sldId="903"/>
            <ac:spMk id="3" creationId="{6E6AB3AA-03B3-4E7A-94A3-3EB3E0E9D005}"/>
          </ac:spMkLst>
        </pc:spChg>
        <pc:spChg chg="add">
          <ac:chgData name="christophe CHUECOS-FONT" userId="7e57acaa-4bc6-4644-8edc-0ecdded28594" providerId="ADAL" clId="{C2BEBF3A-ECBA-4860-AC25-66AB61261A96}" dt="2021-03-18T23:37:09.809" v="1693" actId="26606"/>
          <ac:spMkLst>
            <pc:docMk/>
            <pc:sldMk cId="518596460" sldId="903"/>
            <ac:spMk id="8" creationId="{1ACA2EA0-FFD3-42EC-9406-B595015ED96E}"/>
          </ac:spMkLst>
        </pc:spChg>
        <pc:spChg chg="add">
          <ac:chgData name="christophe CHUECOS-FONT" userId="7e57acaa-4bc6-4644-8edc-0ecdded28594" providerId="ADAL" clId="{C2BEBF3A-ECBA-4860-AC25-66AB61261A96}" dt="2021-03-18T23:37:09.809" v="1693" actId="26606"/>
          <ac:spMkLst>
            <pc:docMk/>
            <pc:sldMk cId="518596460" sldId="903"/>
            <ac:spMk id="10" creationId="{D5288BCE-665C-472A-8C43-664BCFA31E43}"/>
          </ac:spMkLst>
        </pc:spChg>
        <pc:spChg chg="add">
          <ac:chgData name="christophe CHUECOS-FONT" userId="7e57acaa-4bc6-4644-8edc-0ecdded28594" providerId="ADAL" clId="{C2BEBF3A-ECBA-4860-AC25-66AB61261A96}" dt="2021-03-18T23:37:09.809" v="1693" actId="26606"/>
          <ac:spMkLst>
            <pc:docMk/>
            <pc:sldMk cId="518596460" sldId="903"/>
            <ac:spMk id="12" creationId="{46C57131-53A7-4C1A-BEA8-25F06A06AD29}"/>
          </ac:spMkLst>
        </pc:spChg>
      </pc:sldChg>
      <pc:sldChg chg="addSp delSp modSp add mod ord setBg setClrOvrMap">
        <pc:chgData name="christophe CHUECOS-FONT" userId="7e57acaa-4bc6-4644-8edc-0ecdded28594" providerId="ADAL" clId="{C2BEBF3A-ECBA-4860-AC25-66AB61261A96}" dt="2021-03-18T23:43:37.528" v="1750" actId="6549"/>
        <pc:sldMkLst>
          <pc:docMk/>
          <pc:sldMk cId="2856685236" sldId="904"/>
        </pc:sldMkLst>
        <pc:spChg chg="mod">
          <ac:chgData name="christophe CHUECOS-FONT" userId="7e57acaa-4bc6-4644-8edc-0ecdded28594" providerId="ADAL" clId="{C2BEBF3A-ECBA-4860-AC25-66AB61261A96}" dt="2021-03-18T23:36:53.360" v="1692" actId="26606"/>
          <ac:spMkLst>
            <pc:docMk/>
            <pc:sldMk cId="2856685236" sldId="904"/>
            <ac:spMk id="2" creationId="{02517F6E-26E9-44E8-815E-774552D95FD0}"/>
          </ac:spMkLst>
        </pc:spChg>
        <pc:spChg chg="mod ord">
          <ac:chgData name="christophe CHUECOS-FONT" userId="7e57acaa-4bc6-4644-8edc-0ecdded28594" providerId="ADAL" clId="{C2BEBF3A-ECBA-4860-AC25-66AB61261A96}" dt="2021-03-18T23:43:37.528" v="1750" actId="6549"/>
          <ac:spMkLst>
            <pc:docMk/>
            <pc:sldMk cId="2856685236" sldId="904"/>
            <ac:spMk id="5" creationId="{DFEA2082-E7DE-4453-8158-54F380B94285}"/>
          </ac:spMkLst>
        </pc:spChg>
        <pc:spChg chg="del">
          <ac:chgData name="christophe CHUECOS-FONT" userId="7e57acaa-4bc6-4644-8edc-0ecdded28594" providerId="ADAL" clId="{C2BEBF3A-ECBA-4860-AC25-66AB61261A96}" dt="2021-03-18T23:36:53.360" v="1692" actId="26606"/>
          <ac:spMkLst>
            <pc:docMk/>
            <pc:sldMk cId="2856685236" sldId="904"/>
            <ac:spMk id="77" creationId="{8537B233-9CDD-4A90-AABB-A8963DEE4FBC}"/>
          </ac:spMkLst>
        </pc:spChg>
        <pc:spChg chg="add">
          <ac:chgData name="christophe CHUECOS-FONT" userId="7e57acaa-4bc6-4644-8edc-0ecdded28594" providerId="ADAL" clId="{C2BEBF3A-ECBA-4860-AC25-66AB61261A96}" dt="2021-03-18T23:36:53.360" v="1692" actId="26606"/>
          <ac:spMkLst>
            <pc:docMk/>
            <pc:sldMk cId="2856685236" sldId="904"/>
            <ac:spMk id="84" creationId="{23E547B5-89CF-4EC0-96DE-25771AED0799}"/>
          </ac:spMkLst>
        </pc:spChg>
        <pc:spChg chg="add">
          <ac:chgData name="christophe CHUECOS-FONT" userId="7e57acaa-4bc6-4644-8edc-0ecdded28594" providerId="ADAL" clId="{C2BEBF3A-ECBA-4860-AC25-66AB61261A96}" dt="2021-03-18T23:36:53.360" v="1692" actId="26606"/>
          <ac:spMkLst>
            <pc:docMk/>
            <pc:sldMk cId="2856685236" sldId="904"/>
            <ac:spMk id="86" creationId="{3F0B8CEB-8279-4E5E-A0CE-1FC9F71736F2}"/>
          </ac:spMkLst>
        </pc:spChg>
        <pc:picChg chg="mod">
          <ac:chgData name="christophe CHUECOS-FONT" userId="7e57acaa-4bc6-4644-8edc-0ecdded28594" providerId="ADAL" clId="{C2BEBF3A-ECBA-4860-AC25-66AB61261A96}" dt="2021-03-18T23:36:53.360" v="1692" actId="26606"/>
          <ac:picMkLst>
            <pc:docMk/>
            <pc:sldMk cId="2856685236" sldId="904"/>
            <ac:picMk id="36" creationId="{FC9EF324-339C-4E46-9508-BF0C86AAC793}"/>
          </ac:picMkLst>
        </pc:picChg>
        <pc:cxnChg chg="del">
          <ac:chgData name="christophe CHUECOS-FONT" userId="7e57acaa-4bc6-4644-8edc-0ecdded28594" providerId="ADAL" clId="{C2BEBF3A-ECBA-4860-AC25-66AB61261A96}" dt="2021-03-18T23:36:53.360" v="1692" actId="26606"/>
          <ac:cxnSpMkLst>
            <pc:docMk/>
            <pc:sldMk cId="2856685236" sldId="904"/>
            <ac:cxnSpMk id="79" creationId="{040575EE-C594-4566-BC00-663004E52AB5}"/>
          </ac:cxnSpMkLst>
        </pc:cxnChg>
      </pc:sldChg>
      <pc:sldChg chg="modSp add mod ord">
        <pc:chgData name="christophe CHUECOS-FONT" userId="7e57acaa-4bc6-4644-8edc-0ecdded28594" providerId="ADAL" clId="{C2BEBF3A-ECBA-4860-AC25-66AB61261A96}" dt="2021-03-18T22:55:00.066" v="879" actId="6549"/>
        <pc:sldMkLst>
          <pc:docMk/>
          <pc:sldMk cId="963568808" sldId="905"/>
        </pc:sldMkLst>
        <pc:spChg chg="mod">
          <ac:chgData name="christophe CHUECOS-FONT" userId="7e57acaa-4bc6-4644-8edc-0ecdded28594" providerId="ADAL" clId="{C2BEBF3A-ECBA-4860-AC25-66AB61261A96}" dt="2021-03-18T22:55:00.066" v="879" actId="6549"/>
          <ac:spMkLst>
            <pc:docMk/>
            <pc:sldMk cId="963568808" sldId="905"/>
            <ac:spMk id="5" creationId="{DFEA2082-E7DE-4453-8158-54F380B94285}"/>
          </ac:spMkLst>
        </pc:spChg>
      </pc:sldChg>
      <pc:sldChg chg="modSp add mod ord">
        <pc:chgData name="christophe CHUECOS-FONT" userId="7e57acaa-4bc6-4644-8edc-0ecdded28594" providerId="ADAL" clId="{C2BEBF3A-ECBA-4860-AC25-66AB61261A96}" dt="2021-03-18T23:03:35.194" v="1562" actId="13926"/>
        <pc:sldMkLst>
          <pc:docMk/>
          <pc:sldMk cId="2413877595" sldId="906"/>
        </pc:sldMkLst>
        <pc:spChg chg="mod">
          <ac:chgData name="christophe CHUECOS-FONT" userId="7e57acaa-4bc6-4644-8edc-0ecdded28594" providerId="ADAL" clId="{C2BEBF3A-ECBA-4860-AC25-66AB61261A96}" dt="2021-03-18T23:00:51.209" v="1388" actId="20577"/>
          <ac:spMkLst>
            <pc:docMk/>
            <pc:sldMk cId="2413877595" sldId="906"/>
            <ac:spMk id="2" creationId="{AEFCB68E-E041-4E46-A233-3C2208DA32CB}"/>
          </ac:spMkLst>
        </pc:spChg>
        <pc:spChg chg="mod">
          <ac:chgData name="christophe CHUECOS-FONT" userId="7e57acaa-4bc6-4644-8edc-0ecdded28594" providerId="ADAL" clId="{C2BEBF3A-ECBA-4860-AC25-66AB61261A96}" dt="2021-03-18T23:03:35.194" v="1562" actId="13926"/>
          <ac:spMkLst>
            <pc:docMk/>
            <pc:sldMk cId="2413877595" sldId="906"/>
            <ac:spMk id="3" creationId="{9FA71A85-160A-4CFF-9241-BA71D421B86B}"/>
          </ac:spMkLst>
        </pc:spChg>
      </pc:sldChg>
      <pc:sldChg chg="addSp modSp add mod">
        <pc:chgData name="christophe CHUECOS-FONT" userId="7e57acaa-4bc6-4644-8edc-0ecdded28594" providerId="ADAL" clId="{C2BEBF3A-ECBA-4860-AC25-66AB61261A96}" dt="2021-03-18T23:36:29.851" v="1691" actId="20577"/>
        <pc:sldMkLst>
          <pc:docMk/>
          <pc:sldMk cId="606901911" sldId="907"/>
        </pc:sldMkLst>
        <pc:spChg chg="mod">
          <ac:chgData name="christophe CHUECOS-FONT" userId="7e57acaa-4bc6-4644-8edc-0ecdded28594" providerId="ADAL" clId="{C2BEBF3A-ECBA-4860-AC25-66AB61261A96}" dt="2021-03-18T23:36:29.851" v="1691" actId="20577"/>
          <ac:spMkLst>
            <pc:docMk/>
            <pc:sldMk cId="606901911" sldId="907"/>
            <ac:spMk id="3" creationId="{6E6AB3AA-03B3-4E7A-94A3-3EB3E0E9D005}"/>
          </ac:spMkLst>
        </pc:spChg>
        <pc:graphicFrameChg chg="add mod modGraphic">
          <ac:chgData name="christophe CHUECOS-FONT" userId="7e57acaa-4bc6-4644-8edc-0ecdded28594" providerId="ADAL" clId="{C2BEBF3A-ECBA-4860-AC25-66AB61261A96}" dt="2021-03-18T23:36:19.589" v="1676" actId="255"/>
          <ac:graphicFrameMkLst>
            <pc:docMk/>
            <pc:sldMk cId="606901911" sldId="907"/>
            <ac:graphicFrameMk id="4" creationId="{AD30B320-E949-46DE-88E4-430E435C5149}"/>
          </ac:graphicFrameMkLst>
        </pc:graphicFrameChg>
      </pc:sldChg>
      <pc:sldChg chg="addSp delSp modSp add mod">
        <pc:chgData name="christophe CHUECOS-FONT" userId="7e57acaa-4bc6-4644-8edc-0ecdded28594" providerId="ADAL" clId="{C2BEBF3A-ECBA-4860-AC25-66AB61261A96}" dt="2021-03-18T23:39:34.788" v="1718" actId="14100"/>
        <pc:sldMkLst>
          <pc:docMk/>
          <pc:sldMk cId="3810924798" sldId="908"/>
        </pc:sldMkLst>
        <pc:spChg chg="del mod">
          <ac:chgData name="christophe CHUECOS-FONT" userId="7e57acaa-4bc6-4644-8edc-0ecdded28594" providerId="ADAL" clId="{C2BEBF3A-ECBA-4860-AC25-66AB61261A96}" dt="2021-03-18T23:38:36.079" v="1710"/>
          <ac:spMkLst>
            <pc:docMk/>
            <pc:sldMk cId="3810924798" sldId="908"/>
            <ac:spMk id="3" creationId="{6E6AB3AA-03B3-4E7A-94A3-3EB3E0E9D005}"/>
          </ac:spMkLst>
        </pc:spChg>
        <pc:graphicFrameChg chg="del">
          <ac:chgData name="christophe CHUECOS-FONT" userId="7e57acaa-4bc6-4644-8edc-0ecdded28594" providerId="ADAL" clId="{C2BEBF3A-ECBA-4860-AC25-66AB61261A96}" dt="2021-03-18T23:38:25.863" v="1695" actId="478"/>
          <ac:graphicFrameMkLst>
            <pc:docMk/>
            <pc:sldMk cId="3810924798" sldId="908"/>
            <ac:graphicFrameMk id="4" creationId="{AD30B320-E949-46DE-88E4-430E435C5149}"/>
          </ac:graphicFrameMkLst>
        </pc:graphicFrameChg>
        <pc:graphicFrameChg chg="add mod modGraphic">
          <ac:chgData name="christophe CHUECOS-FONT" userId="7e57acaa-4bc6-4644-8edc-0ecdded28594" providerId="ADAL" clId="{C2BEBF3A-ECBA-4860-AC25-66AB61261A96}" dt="2021-03-18T23:39:34.788" v="1718" actId="14100"/>
          <ac:graphicFrameMkLst>
            <pc:docMk/>
            <pc:sldMk cId="3810924798" sldId="908"/>
            <ac:graphicFrameMk id="5" creationId="{43C069CA-369C-4FE3-84C1-BB47F63F8528}"/>
          </ac:graphicFrameMkLst>
        </pc:graphicFrameChg>
      </pc:sldChg>
      <pc:sldChg chg="addSp delSp modSp add mod addCm">
        <pc:chgData name="christophe CHUECOS-FONT" userId="7e57acaa-4bc6-4644-8edc-0ecdded28594" providerId="ADAL" clId="{C2BEBF3A-ECBA-4860-AC25-66AB61261A96}" dt="2021-03-18T23:42:33.889" v="1736" actId="14100"/>
        <pc:sldMkLst>
          <pc:docMk/>
          <pc:sldMk cId="1480198139" sldId="909"/>
        </pc:sldMkLst>
        <pc:spChg chg="del">
          <ac:chgData name="christophe CHUECOS-FONT" userId="7e57acaa-4bc6-4644-8edc-0ecdded28594" providerId="ADAL" clId="{C2BEBF3A-ECBA-4860-AC25-66AB61261A96}" dt="2021-03-18T23:41:17.645" v="1727" actId="21"/>
          <ac:spMkLst>
            <pc:docMk/>
            <pc:sldMk cId="1480198139" sldId="909"/>
            <ac:spMk id="2" creationId="{41644713-AF21-4543-94FE-A96FEBAA2B11}"/>
          </ac:spMkLst>
        </pc:spChg>
        <pc:spChg chg="add del mod">
          <ac:chgData name="christophe CHUECOS-FONT" userId="7e57acaa-4bc6-4644-8edc-0ecdded28594" providerId="ADAL" clId="{C2BEBF3A-ECBA-4860-AC25-66AB61261A96}" dt="2021-03-18T23:40:50.116" v="1724"/>
          <ac:spMkLst>
            <pc:docMk/>
            <pc:sldMk cId="1480198139" sldId="909"/>
            <ac:spMk id="4" creationId="{23EFB48C-8B05-432F-B3CA-70CF4B54BE2A}"/>
          </ac:spMkLst>
        </pc:spChg>
        <pc:spChg chg="add del mod">
          <ac:chgData name="christophe CHUECOS-FONT" userId="7e57acaa-4bc6-4644-8edc-0ecdded28594" providerId="ADAL" clId="{C2BEBF3A-ECBA-4860-AC25-66AB61261A96}" dt="2021-03-18T23:41:59.174" v="1732" actId="21"/>
          <ac:spMkLst>
            <pc:docMk/>
            <pc:sldMk cId="1480198139" sldId="909"/>
            <ac:spMk id="8" creationId="{67B91E09-3E36-47DC-B23D-CA7F469C5F77}"/>
          </ac:spMkLst>
        </pc:spChg>
        <pc:spChg chg="add del mod">
          <ac:chgData name="christophe CHUECOS-FONT" userId="7e57acaa-4bc6-4644-8edc-0ecdded28594" providerId="ADAL" clId="{C2BEBF3A-ECBA-4860-AC25-66AB61261A96}" dt="2021-03-18T23:41:48.405" v="1731"/>
          <ac:spMkLst>
            <pc:docMk/>
            <pc:sldMk cId="1480198139" sldId="909"/>
            <ac:spMk id="10" creationId="{530FEB83-F28E-4450-AFD7-75C29BD02B31}"/>
          </ac:spMkLst>
        </pc:spChg>
        <pc:spChg chg="add del mod">
          <ac:chgData name="christophe CHUECOS-FONT" userId="7e57acaa-4bc6-4644-8edc-0ecdded28594" providerId="ADAL" clId="{C2BEBF3A-ECBA-4860-AC25-66AB61261A96}" dt="2021-03-18T23:41:27.290" v="1729" actId="21"/>
          <ac:spMkLst>
            <pc:docMk/>
            <pc:sldMk cId="1480198139" sldId="909"/>
            <ac:spMk id="11" creationId="{18543A2C-569F-4216-9CE3-E201FE2A80B5}"/>
          </ac:spMkLst>
        </pc:spChg>
        <pc:graphicFrameChg chg="del mod modGraphic">
          <ac:chgData name="christophe CHUECOS-FONT" userId="7e57acaa-4bc6-4644-8edc-0ecdded28594" providerId="ADAL" clId="{C2BEBF3A-ECBA-4860-AC25-66AB61261A96}" dt="2021-03-18T23:40:10.151" v="1723" actId="21"/>
          <ac:graphicFrameMkLst>
            <pc:docMk/>
            <pc:sldMk cId="1480198139" sldId="909"/>
            <ac:graphicFrameMk id="5" creationId="{43C069CA-369C-4FE3-84C1-BB47F63F8528}"/>
          </ac:graphicFrameMkLst>
        </pc:graphicFrameChg>
        <pc:graphicFrameChg chg="add del mod modGraphic">
          <ac:chgData name="christophe CHUECOS-FONT" userId="7e57acaa-4bc6-4644-8edc-0ecdded28594" providerId="ADAL" clId="{C2BEBF3A-ECBA-4860-AC25-66AB61261A96}" dt="2021-03-18T23:41:17.645" v="1727" actId="21"/>
          <ac:graphicFrameMkLst>
            <pc:docMk/>
            <pc:sldMk cId="1480198139" sldId="909"/>
            <ac:graphicFrameMk id="6" creationId="{E5CEB532-113F-44BB-89D7-7CB8490AEFFC}"/>
          </ac:graphicFrameMkLst>
        </pc:graphicFrameChg>
        <pc:graphicFrameChg chg="add del mod">
          <ac:chgData name="christophe CHUECOS-FONT" userId="7e57acaa-4bc6-4644-8edc-0ecdded28594" providerId="ADAL" clId="{C2BEBF3A-ECBA-4860-AC25-66AB61261A96}" dt="2021-03-18T23:41:27.290" v="1729" actId="21"/>
          <ac:graphicFrameMkLst>
            <pc:docMk/>
            <pc:sldMk cId="1480198139" sldId="909"/>
            <ac:graphicFrameMk id="12" creationId="{3F2BC7C0-3058-45B5-831C-2A0247FF33A6}"/>
          </ac:graphicFrameMkLst>
        </pc:graphicFrameChg>
        <pc:graphicFrameChg chg="add mod modGraphic">
          <ac:chgData name="christophe CHUECOS-FONT" userId="7e57acaa-4bc6-4644-8edc-0ecdded28594" providerId="ADAL" clId="{C2BEBF3A-ECBA-4860-AC25-66AB61261A96}" dt="2021-03-18T23:42:33.889" v="1736" actId="14100"/>
          <ac:graphicFrameMkLst>
            <pc:docMk/>
            <pc:sldMk cId="1480198139" sldId="909"/>
            <ac:graphicFrameMk id="13" creationId="{6EB9F717-B5A8-4A5D-B160-A8BE78AE15BF}"/>
          </ac:graphicFrameMkLst>
        </pc:graphicFrameChg>
      </pc:sldChg>
      <pc:sldChg chg="modSp add mod ord">
        <pc:chgData name="christophe CHUECOS-FONT" userId="7e57acaa-4bc6-4644-8edc-0ecdded28594" providerId="ADAL" clId="{C2BEBF3A-ECBA-4860-AC25-66AB61261A96}" dt="2021-03-18T23:43:18.317" v="1742" actId="255"/>
        <pc:sldMkLst>
          <pc:docMk/>
          <pc:sldMk cId="4043781952" sldId="910"/>
        </pc:sldMkLst>
        <pc:spChg chg="mod">
          <ac:chgData name="christophe CHUECOS-FONT" userId="7e57acaa-4bc6-4644-8edc-0ecdded28594" providerId="ADAL" clId="{C2BEBF3A-ECBA-4860-AC25-66AB61261A96}" dt="2021-03-18T23:43:18.317" v="1742" actId="255"/>
          <ac:spMkLst>
            <pc:docMk/>
            <pc:sldMk cId="4043781952" sldId="910"/>
            <ac:spMk id="5" creationId="{DFEA2082-E7DE-4453-8158-54F380B94285}"/>
          </ac:spMkLst>
        </pc:spChg>
      </pc:sldChg>
    </pc:docChg>
  </pc:docChgLst>
  <pc:docChgLst>
    <pc:chgData name="christophe CHUECOS-FONT" userId="7e57acaa-4bc6-4644-8edc-0ecdded28594" providerId="ADAL" clId="{67DE474F-9E2C-4F68-B79B-1B1AA065A498}"/>
    <pc:docChg chg="undo custSel addSld delSld modSld sldOrd delMainMaster">
      <pc:chgData name="christophe CHUECOS-FONT" userId="7e57acaa-4bc6-4644-8edc-0ecdded28594" providerId="ADAL" clId="{67DE474F-9E2C-4F68-B79B-1B1AA065A498}" dt="2021-04-02T14:31:52.164" v="2736" actId="20577"/>
      <pc:docMkLst>
        <pc:docMk/>
      </pc:docMkLst>
      <pc:sldChg chg="modSp mod">
        <pc:chgData name="christophe CHUECOS-FONT" userId="7e57acaa-4bc6-4644-8edc-0ecdded28594" providerId="ADAL" clId="{67DE474F-9E2C-4F68-B79B-1B1AA065A498}" dt="2021-04-01T21:08:33.219" v="18" actId="27636"/>
        <pc:sldMkLst>
          <pc:docMk/>
          <pc:sldMk cId="3848639155" sldId="256"/>
        </pc:sldMkLst>
        <pc:spChg chg="mod">
          <ac:chgData name="christophe CHUECOS-FONT" userId="7e57acaa-4bc6-4644-8edc-0ecdded28594" providerId="ADAL" clId="{67DE474F-9E2C-4F68-B79B-1B1AA065A498}" dt="2021-04-01T21:08:33.219" v="18" actId="27636"/>
          <ac:spMkLst>
            <pc:docMk/>
            <pc:sldMk cId="3848639155" sldId="256"/>
            <ac:spMk id="3" creationId="{21349F9F-31B4-41DC-B4DB-C097467B5266}"/>
          </ac:spMkLst>
        </pc:spChg>
      </pc:sldChg>
      <pc:sldChg chg="modSp mod">
        <pc:chgData name="christophe CHUECOS-FONT" userId="7e57acaa-4bc6-4644-8edc-0ecdded28594" providerId="ADAL" clId="{67DE474F-9E2C-4F68-B79B-1B1AA065A498}" dt="2021-04-01T21:09:56.858" v="25" actId="207"/>
        <pc:sldMkLst>
          <pc:docMk/>
          <pc:sldMk cId="251691404" sldId="276"/>
        </pc:sldMkLst>
        <pc:graphicFrameChg chg="modGraphic">
          <ac:chgData name="christophe CHUECOS-FONT" userId="7e57acaa-4bc6-4644-8edc-0ecdded28594" providerId="ADAL" clId="{67DE474F-9E2C-4F68-B79B-1B1AA065A498}" dt="2021-04-01T21:09:56.858" v="25" actId="207"/>
          <ac:graphicFrameMkLst>
            <pc:docMk/>
            <pc:sldMk cId="251691404" sldId="276"/>
            <ac:graphicFrameMk id="3" creationId="{90A39BD7-E179-4570-8079-E6A295B49267}"/>
          </ac:graphicFrameMkLst>
        </pc:graphicFrameChg>
      </pc:sldChg>
      <pc:sldChg chg="del">
        <pc:chgData name="christophe CHUECOS-FONT" userId="7e57acaa-4bc6-4644-8edc-0ecdded28594" providerId="ADAL" clId="{67DE474F-9E2C-4F68-B79B-1B1AA065A498}" dt="2021-04-01T21:10:12.544" v="30" actId="47"/>
        <pc:sldMkLst>
          <pc:docMk/>
          <pc:sldMk cId="1271957293" sldId="338"/>
        </pc:sldMkLst>
      </pc:sldChg>
      <pc:sldChg chg="del">
        <pc:chgData name="christophe CHUECOS-FONT" userId="7e57acaa-4bc6-4644-8edc-0ecdded28594" providerId="ADAL" clId="{67DE474F-9E2C-4F68-B79B-1B1AA065A498}" dt="2021-04-01T21:10:12.882" v="31" actId="47"/>
        <pc:sldMkLst>
          <pc:docMk/>
          <pc:sldMk cId="2720677423" sldId="342"/>
        </pc:sldMkLst>
      </pc:sldChg>
      <pc:sldChg chg="modSp mod">
        <pc:chgData name="christophe CHUECOS-FONT" userId="7e57acaa-4bc6-4644-8edc-0ecdded28594" providerId="ADAL" clId="{67DE474F-9E2C-4F68-B79B-1B1AA065A498}" dt="2021-04-01T21:11:39.678" v="77" actId="20577"/>
        <pc:sldMkLst>
          <pc:docMk/>
          <pc:sldMk cId="199886149" sldId="751"/>
        </pc:sldMkLst>
        <pc:spChg chg="mod">
          <ac:chgData name="christophe CHUECOS-FONT" userId="7e57acaa-4bc6-4644-8edc-0ecdded28594" providerId="ADAL" clId="{67DE474F-9E2C-4F68-B79B-1B1AA065A498}" dt="2021-04-01T21:11:39.678" v="77" actId="20577"/>
          <ac:spMkLst>
            <pc:docMk/>
            <pc:sldMk cId="199886149" sldId="751"/>
            <ac:spMk id="5" creationId="{DFEA2082-E7DE-4453-8158-54F380B94285}"/>
          </ac:spMkLst>
        </pc:spChg>
      </pc:sldChg>
      <pc:sldChg chg="modSp mod">
        <pc:chgData name="christophe CHUECOS-FONT" userId="7e57acaa-4bc6-4644-8edc-0ecdded28594" providerId="ADAL" clId="{67DE474F-9E2C-4F68-B79B-1B1AA065A498}" dt="2021-04-01T21:22:20.422" v="468" actId="6549"/>
        <pc:sldMkLst>
          <pc:docMk/>
          <pc:sldMk cId="2343994896" sldId="867"/>
        </pc:sldMkLst>
        <pc:spChg chg="mod">
          <ac:chgData name="christophe CHUECOS-FONT" userId="7e57acaa-4bc6-4644-8edc-0ecdded28594" providerId="ADAL" clId="{67DE474F-9E2C-4F68-B79B-1B1AA065A498}" dt="2021-04-01T21:22:20.422" v="468" actId="6549"/>
          <ac:spMkLst>
            <pc:docMk/>
            <pc:sldMk cId="2343994896" sldId="867"/>
            <ac:spMk id="2" creationId="{AEFCB68E-E041-4E46-A233-3C2208DA32CB}"/>
          </ac:spMkLst>
        </pc:spChg>
        <pc:spChg chg="mod">
          <ac:chgData name="christophe CHUECOS-FONT" userId="7e57acaa-4bc6-4644-8edc-0ecdded28594" providerId="ADAL" clId="{67DE474F-9E2C-4F68-B79B-1B1AA065A498}" dt="2021-04-01T21:22:05.070" v="450" actId="255"/>
          <ac:spMkLst>
            <pc:docMk/>
            <pc:sldMk cId="2343994896" sldId="867"/>
            <ac:spMk id="3" creationId="{9FA71A85-160A-4CFF-9241-BA71D421B86B}"/>
          </ac:spMkLst>
        </pc:spChg>
      </pc:sldChg>
      <pc:sldChg chg="addSp delSp modSp mod ord">
        <pc:chgData name="christophe CHUECOS-FONT" userId="7e57acaa-4bc6-4644-8edc-0ecdded28594" providerId="ADAL" clId="{67DE474F-9E2C-4F68-B79B-1B1AA065A498}" dt="2021-04-02T06:10:01.896" v="1928" actId="20577"/>
        <pc:sldMkLst>
          <pc:docMk/>
          <pc:sldMk cId="518596460" sldId="903"/>
        </pc:sldMkLst>
        <pc:spChg chg="mod">
          <ac:chgData name="christophe CHUECOS-FONT" userId="7e57acaa-4bc6-4644-8edc-0ecdded28594" providerId="ADAL" clId="{67DE474F-9E2C-4F68-B79B-1B1AA065A498}" dt="2021-04-02T06:10:01.896" v="1928" actId="20577"/>
          <ac:spMkLst>
            <pc:docMk/>
            <pc:sldMk cId="518596460" sldId="903"/>
            <ac:spMk id="2" creationId="{41644713-AF21-4543-94FE-A96FEBAA2B11}"/>
          </ac:spMkLst>
        </pc:spChg>
        <pc:spChg chg="mod">
          <ac:chgData name="christophe CHUECOS-FONT" userId="7e57acaa-4bc6-4644-8edc-0ecdded28594" providerId="ADAL" clId="{67DE474F-9E2C-4F68-B79B-1B1AA065A498}" dt="2021-04-01T22:06:11.806" v="1823" actId="26606"/>
          <ac:spMkLst>
            <pc:docMk/>
            <pc:sldMk cId="518596460" sldId="903"/>
            <ac:spMk id="3" creationId="{6E6AB3AA-03B3-4E7A-94A3-3EB3E0E9D005}"/>
          </ac:spMkLst>
        </pc:spChg>
        <pc:spChg chg="del">
          <ac:chgData name="christophe CHUECOS-FONT" userId="7e57acaa-4bc6-4644-8edc-0ecdded28594" providerId="ADAL" clId="{67DE474F-9E2C-4F68-B79B-1B1AA065A498}" dt="2021-04-01T22:06:11.806" v="1823" actId="26606"/>
          <ac:spMkLst>
            <pc:docMk/>
            <pc:sldMk cId="518596460" sldId="903"/>
            <ac:spMk id="8" creationId="{1ACA2EA0-FFD3-42EC-9406-B595015ED96E}"/>
          </ac:spMkLst>
        </pc:spChg>
        <pc:spChg chg="del">
          <ac:chgData name="christophe CHUECOS-FONT" userId="7e57acaa-4bc6-4644-8edc-0ecdded28594" providerId="ADAL" clId="{67DE474F-9E2C-4F68-B79B-1B1AA065A498}" dt="2021-04-01T22:06:11.806" v="1823" actId="26606"/>
          <ac:spMkLst>
            <pc:docMk/>
            <pc:sldMk cId="518596460" sldId="903"/>
            <ac:spMk id="10" creationId="{D5288BCE-665C-472A-8C43-664BCFA31E43}"/>
          </ac:spMkLst>
        </pc:spChg>
        <pc:spChg chg="del">
          <ac:chgData name="christophe CHUECOS-FONT" userId="7e57acaa-4bc6-4644-8edc-0ecdded28594" providerId="ADAL" clId="{67DE474F-9E2C-4F68-B79B-1B1AA065A498}" dt="2021-04-01T22:06:11.806" v="1823" actId="26606"/>
          <ac:spMkLst>
            <pc:docMk/>
            <pc:sldMk cId="518596460" sldId="903"/>
            <ac:spMk id="12" creationId="{46C57131-53A7-4C1A-BEA8-25F06A06AD29}"/>
          </ac:spMkLst>
        </pc:spChg>
        <pc:spChg chg="add">
          <ac:chgData name="christophe CHUECOS-FONT" userId="7e57acaa-4bc6-4644-8edc-0ecdded28594" providerId="ADAL" clId="{67DE474F-9E2C-4F68-B79B-1B1AA065A498}" dt="2021-04-01T22:06:11.806" v="1823" actId="26606"/>
          <ac:spMkLst>
            <pc:docMk/>
            <pc:sldMk cId="518596460" sldId="903"/>
            <ac:spMk id="17" creationId="{081EA652-8C6A-4E69-BEB9-170809474553}"/>
          </ac:spMkLst>
        </pc:spChg>
        <pc:spChg chg="add">
          <ac:chgData name="christophe CHUECOS-FONT" userId="7e57acaa-4bc6-4644-8edc-0ecdded28594" providerId="ADAL" clId="{67DE474F-9E2C-4F68-B79B-1B1AA065A498}" dt="2021-04-01T22:06:11.806" v="1823" actId="26606"/>
          <ac:spMkLst>
            <pc:docMk/>
            <pc:sldMk cId="518596460" sldId="903"/>
            <ac:spMk id="19" creationId="{5298780A-33B9-4EA2-8F67-DE68AD62841B}"/>
          </ac:spMkLst>
        </pc:spChg>
        <pc:spChg chg="add">
          <ac:chgData name="christophe CHUECOS-FONT" userId="7e57acaa-4bc6-4644-8edc-0ecdded28594" providerId="ADAL" clId="{67DE474F-9E2C-4F68-B79B-1B1AA065A498}" dt="2021-04-01T22:06:11.806" v="1823" actId="26606"/>
          <ac:spMkLst>
            <pc:docMk/>
            <pc:sldMk cId="518596460" sldId="903"/>
            <ac:spMk id="21" creationId="{7F488E8B-4E1E-4402-8935-D4E6C02615C7}"/>
          </ac:spMkLst>
        </pc:spChg>
      </pc:sldChg>
      <pc:sldChg chg="modSp mod">
        <pc:chgData name="christophe CHUECOS-FONT" userId="7e57acaa-4bc6-4644-8edc-0ecdded28594" providerId="ADAL" clId="{67DE474F-9E2C-4F68-B79B-1B1AA065A498}" dt="2021-04-02T14:31:52.164" v="2736" actId="20577"/>
        <pc:sldMkLst>
          <pc:docMk/>
          <pc:sldMk cId="2856685236" sldId="904"/>
        </pc:sldMkLst>
        <pc:spChg chg="mod">
          <ac:chgData name="christophe CHUECOS-FONT" userId="7e57acaa-4bc6-4644-8edc-0ecdded28594" providerId="ADAL" clId="{67DE474F-9E2C-4F68-B79B-1B1AA065A498}" dt="2021-04-02T14:31:52.164" v="2736" actId="20577"/>
          <ac:spMkLst>
            <pc:docMk/>
            <pc:sldMk cId="2856685236" sldId="904"/>
            <ac:spMk id="5" creationId="{DFEA2082-E7DE-4453-8158-54F380B94285}"/>
          </ac:spMkLst>
        </pc:spChg>
      </pc:sldChg>
      <pc:sldChg chg="del">
        <pc:chgData name="christophe CHUECOS-FONT" userId="7e57acaa-4bc6-4644-8edc-0ecdded28594" providerId="ADAL" clId="{67DE474F-9E2C-4F68-B79B-1B1AA065A498}" dt="2021-04-01T21:10:11.807" v="29" actId="47"/>
        <pc:sldMkLst>
          <pc:docMk/>
          <pc:sldMk cId="963568808" sldId="905"/>
        </pc:sldMkLst>
      </pc:sldChg>
      <pc:sldChg chg="addSp delSp modSp mod">
        <pc:chgData name="christophe CHUECOS-FONT" userId="7e57acaa-4bc6-4644-8edc-0ecdded28594" providerId="ADAL" clId="{67DE474F-9E2C-4F68-B79B-1B1AA065A498}" dt="2021-04-01T21:20:58.045" v="370" actId="26606"/>
        <pc:sldMkLst>
          <pc:docMk/>
          <pc:sldMk cId="2413877595" sldId="906"/>
        </pc:sldMkLst>
        <pc:spChg chg="mod">
          <ac:chgData name="christophe CHUECOS-FONT" userId="7e57acaa-4bc6-4644-8edc-0ecdded28594" providerId="ADAL" clId="{67DE474F-9E2C-4F68-B79B-1B1AA065A498}" dt="2021-04-01T21:20:58.045" v="370" actId="26606"/>
          <ac:spMkLst>
            <pc:docMk/>
            <pc:sldMk cId="2413877595" sldId="906"/>
            <ac:spMk id="2" creationId="{AEFCB68E-E041-4E46-A233-3C2208DA32CB}"/>
          </ac:spMkLst>
        </pc:spChg>
        <pc:spChg chg="del mod">
          <ac:chgData name="christophe CHUECOS-FONT" userId="7e57acaa-4bc6-4644-8edc-0ecdded28594" providerId="ADAL" clId="{67DE474F-9E2C-4F68-B79B-1B1AA065A498}" dt="2021-04-01T21:20:58.045" v="370" actId="26606"/>
          <ac:spMkLst>
            <pc:docMk/>
            <pc:sldMk cId="2413877595" sldId="906"/>
            <ac:spMk id="3" creationId="{9FA71A85-160A-4CFF-9241-BA71D421B86B}"/>
          </ac:spMkLst>
        </pc:spChg>
        <pc:spChg chg="del">
          <ac:chgData name="christophe CHUECOS-FONT" userId="7e57acaa-4bc6-4644-8edc-0ecdded28594" providerId="ADAL" clId="{67DE474F-9E2C-4F68-B79B-1B1AA065A498}" dt="2021-04-01T21:20:58.045" v="370" actId="26606"/>
          <ac:spMkLst>
            <pc:docMk/>
            <pc:sldMk cId="2413877595" sldId="906"/>
            <ac:spMk id="17" creationId="{100EDD19-6802-4EC3-95CE-CFFAB042CFD6}"/>
          </ac:spMkLst>
        </pc:spChg>
        <pc:spChg chg="del">
          <ac:chgData name="christophe CHUECOS-FONT" userId="7e57acaa-4bc6-4644-8edc-0ecdded28594" providerId="ADAL" clId="{67DE474F-9E2C-4F68-B79B-1B1AA065A498}" dt="2021-04-01T21:20:58.045" v="370" actId="26606"/>
          <ac:spMkLst>
            <pc:docMk/>
            <pc:sldMk cId="2413877595" sldId="906"/>
            <ac:spMk id="19" creationId="{DB17E863-922E-4C26-BD64-E8FD41D28661}"/>
          </ac:spMkLst>
        </pc:spChg>
        <pc:spChg chg="add">
          <ac:chgData name="christophe CHUECOS-FONT" userId="7e57acaa-4bc6-4644-8edc-0ecdded28594" providerId="ADAL" clId="{67DE474F-9E2C-4F68-B79B-1B1AA065A498}" dt="2021-04-01T21:20:58.045" v="370" actId="26606"/>
          <ac:spMkLst>
            <pc:docMk/>
            <pc:sldMk cId="2413877595" sldId="906"/>
            <ac:spMk id="25" creationId="{70DFC902-7D23-471A-B557-B6B6917D7A0D}"/>
          </ac:spMkLst>
        </pc:spChg>
        <pc:spChg chg="add">
          <ac:chgData name="christophe CHUECOS-FONT" userId="7e57acaa-4bc6-4644-8edc-0ecdded28594" providerId="ADAL" clId="{67DE474F-9E2C-4F68-B79B-1B1AA065A498}" dt="2021-04-01T21:20:58.045" v="370" actId="26606"/>
          <ac:spMkLst>
            <pc:docMk/>
            <pc:sldMk cId="2413877595" sldId="906"/>
            <ac:spMk id="27" creationId="{A55D5633-D557-4DCA-982C-FF36EB7A1C00}"/>
          </ac:spMkLst>
        </pc:spChg>
        <pc:graphicFrameChg chg="add">
          <ac:chgData name="christophe CHUECOS-FONT" userId="7e57acaa-4bc6-4644-8edc-0ecdded28594" providerId="ADAL" clId="{67DE474F-9E2C-4F68-B79B-1B1AA065A498}" dt="2021-04-01T21:20:58.045" v="370" actId="26606"/>
          <ac:graphicFrameMkLst>
            <pc:docMk/>
            <pc:sldMk cId="2413877595" sldId="906"/>
            <ac:graphicFrameMk id="21" creationId="{EA8B118F-B79E-4FD3-A0D6-C6DB5E057FC4}"/>
          </ac:graphicFrameMkLst>
        </pc:graphicFrameChg>
      </pc:sldChg>
      <pc:sldChg chg="del">
        <pc:chgData name="christophe CHUECOS-FONT" userId="7e57acaa-4bc6-4644-8edc-0ecdded28594" providerId="ADAL" clId="{67DE474F-9E2C-4F68-B79B-1B1AA065A498}" dt="2021-04-01T21:10:41.678" v="47" actId="47"/>
        <pc:sldMkLst>
          <pc:docMk/>
          <pc:sldMk cId="3810924798" sldId="908"/>
        </pc:sldMkLst>
      </pc:sldChg>
      <pc:sldChg chg="del">
        <pc:chgData name="christophe CHUECOS-FONT" userId="7e57acaa-4bc6-4644-8edc-0ecdded28594" providerId="ADAL" clId="{67DE474F-9E2C-4F68-B79B-1B1AA065A498}" dt="2021-04-02T14:18:00.135" v="2721" actId="47"/>
        <pc:sldMkLst>
          <pc:docMk/>
          <pc:sldMk cId="1480198139" sldId="909"/>
        </pc:sldMkLst>
      </pc:sldChg>
      <pc:sldChg chg="del">
        <pc:chgData name="christophe CHUECOS-FONT" userId="7e57acaa-4bc6-4644-8edc-0ecdded28594" providerId="ADAL" clId="{67DE474F-9E2C-4F68-B79B-1B1AA065A498}" dt="2021-04-01T21:10:44.727" v="48" actId="47"/>
        <pc:sldMkLst>
          <pc:docMk/>
          <pc:sldMk cId="4043781952" sldId="910"/>
        </pc:sldMkLst>
      </pc:sldChg>
      <pc:sldChg chg="del">
        <pc:chgData name="christophe CHUECOS-FONT" userId="7e57acaa-4bc6-4644-8edc-0ecdded28594" providerId="ADAL" clId="{67DE474F-9E2C-4F68-B79B-1B1AA065A498}" dt="2021-04-01T21:10:16.179" v="32" actId="47"/>
        <pc:sldMkLst>
          <pc:docMk/>
          <pc:sldMk cId="3315866881" sldId="911"/>
        </pc:sldMkLst>
      </pc:sldChg>
      <pc:sldChg chg="del">
        <pc:chgData name="christophe CHUECOS-FONT" userId="7e57acaa-4bc6-4644-8edc-0ecdded28594" providerId="ADAL" clId="{67DE474F-9E2C-4F68-B79B-1B1AA065A498}" dt="2021-04-01T21:10:24.529" v="36" actId="47"/>
        <pc:sldMkLst>
          <pc:docMk/>
          <pc:sldMk cId="1509860493" sldId="912"/>
        </pc:sldMkLst>
      </pc:sldChg>
      <pc:sldChg chg="del">
        <pc:chgData name="christophe CHUECOS-FONT" userId="7e57acaa-4bc6-4644-8edc-0ecdded28594" providerId="ADAL" clId="{67DE474F-9E2C-4F68-B79B-1B1AA065A498}" dt="2021-04-01T21:10:08.509" v="26" actId="47"/>
        <pc:sldMkLst>
          <pc:docMk/>
          <pc:sldMk cId="959441881" sldId="913"/>
        </pc:sldMkLst>
      </pc:sldChg>
      <pc:sldChg chg="del">
        <pc:chgData name="christophe CHUECOS-FONT" userId="7e57acaa-4bc6-4644-8edc-0ecdded28594" providerId="ADAL" clId="{67DE474F-9E2C-4F68-B79B-1B1AA065A498}" dt="2021-04-01T21:10:09.121" v="27" actId="47"/>
        <pc:sldMkLst>
          <pc:docMk/>
          <pc:sldMk cId="3118954032" sldId="914"/>
        </pc:sldMkLst>
      </pc:sldChg>
      <pc:sldChg chg="del">
        <pc:chgData name="christophe CHUECOS-FONT" userId="7e57acaa-4bc6-4644-8edc-0ecdded28594" providerId="ADAL" clId="{67DE474F-9E2C-4F68-B79B-1B1AA065A498}" dt="2021-04-01T21:10:10.399" v="28" actId="47"/>
        <pc:sldMkLst>
          <pc:docMk/>
          <pc:sldMk cId="3283168960" sldId="915"/>
        </pc:sldMkLst>
      </pc:sldChg>
      <pc:sldChg chg="del">
        <pc:chgData name="christophe CHUECOS-FONT" userId="7e57acaa-4bc6-4644-8edc-0ecdded28594" providerId="ADAL" clId="{67DE474F-9E2C-4F68-B79B-1B1AA065A498}" dt="2021-04-01T21:10:22.213" v="33" actId="47"/>
        <pc:sldMkLst>
          <pc:docMk/>
          <pc:sldMk cId="615629420" sldId="916"/>
        </pc:sldMkLst>
      </pc:sldChg>
      <pc:sldChg chg="del">
        <pc:chgData name="christophe CHUECOS-FONT" userId="7e57acaa-4bc6-4644-8edc-0ecdded28594" providerId="ADAL" clId="{67DE474F-9E2C-4F68-B79B-1B1AA065A498}" dt="2021-04-01T21:10:22.595" v="34" actId="47"/>
        <pc:sldMkLst>
          <pc:docMk/>
          <pc:sldMk cId="2574895675" sldId="917"/>
        </pc:sldMkLst>
      </pc:sldChg>
      <pc:sldChg chg="del">
        <pc:chgData name="christophe CHUECOS-FONT" userId="7e57acaa-4bc6-4644-8edc-0ecdded28594" providerId="ADAL" clId="{67DE474F-9E2C-4F68-B79B-1B1AA065A498}" dt="2021-04-01T21:10:23.048" v="35" actId="47"/>
        <pc:sldMkLst>
          <pc:docMk/>
          <pc:sldMk cId="3194066504" sldId="918"/>
        </pc:sldMkLst>
      </pc:sldChg>
      <pc:sldChg chg="del">
        <pc:chgData name="christophe CHUECOS-FONT" userId="7e57acaa-4bc6-4644-8edc-0ecdded28594" providerId="ADAL" clId="{67DE474F-9E2C-4F68-B79B-1B1AA065A498}" dt="2021-04-01T21:10:24.978" v="37" actId="47"/>
        <pc:sldMkLst>
          <pc:docMk/>
          <pc:sldMk cId="2190585729" sldId="919"/>
        </pc:sldMkLst>
      </pc:sldChg>
      <pc:sldChg chg="del">
        <pc:chgData name="christophe CHUECOS-FONT" userId="7e57acaa-4bc6-4644-8edc-0ecdded28594" providerId="ADAL" clId="{67DE474F-9E2C-4F68-B79B-1B1AA065A498}" dt="2021-04-01T21:10:25.362" v="38" actId="47"/>
        <pc:sldMkLst>
          <pc:docMk/>
          <pc:sldMk cId="104529388" sldId="920"/>
        </pc:sldMkLst>
      </pc:sldChg>
      <pc:sldChg chg="del">
        <pc:chgData name="christophe CHUECOS-FONT" userId="7e57acaa-4bc6-4644-8edc-0ecdded28594" providerId="ADAL" clId="{67DE474F-9E2C-4F68-B79B-1B1AA065A498}" dt="2021-04-01T21:10:25.780" v="39" actId="47"/>
        <pc:sldMkLst>
          <pc:docMk/>
          <pc:sldMk cId="1524639244" sldId="921"/>
        </pc:sldMkLst>
      </pc:sldChg>
      <pc:sldChg chg="del">
        <pc:chgData name="christophe CHUECOS-FONT" userId="7e57acaa-4bc6-4644-8edc-0ecdded28594" providerId="ADAL" clId="{67DE474F-9E2C-4F68-B79B-1B1AA065A498}" dt="2021-04-02T14:17:58.273" v="2720" actId="47"/>
        <pc:sldMkLst>
          <pc:docMk/>
          <pc:sldMk cId="1716390056" sldId="922"/>
        </pc:sldMkLst>
      </pc:sldChg>
      <pc:sldChg chg="del">
        <pc:chgData name="christophe CHUECOS-FONT" userId="7e57acaa-4bc6-4644-8edc-0ecdded28594" providerId="ADAL" clId="{67DE474F-9E2C-4F68-B79B-1B1AA065A498}" dt="2021-04-01T21:10:26.363" v="40" actId="47"/>
        <pc:sldMkLst>
          <pc:docMk/>
          <pc:sldMk cId="1401124455" sldId="923"/>
        </pc:sldMkLst>
      </pc:sldChg>
      <pc:sldChg chg="del">
        <pc:chgData name="christophe CHUECOS-FONT" userId="7e57acaa-4bc6-4644-8edc-0ecdded28594" providerId="ADAL" clId="{67DE474F-9E2C-4F68-B79B-1B1AA065A498}" dt="2021-04-01T21:10:45.212" v="49" actId="47"/>
        <pc:sldMkLst>
          <pc:docMk/>
          <pc:sldMk cId="3048182326" sldId="924"/>
        </pc:sldMkLst>
      </pc:sldChg>
      <pc:sldChg chg="del">
        <pc:chgData name="christophe CHUECOS-FONT" userId="7e57acaa-4bc6-4644-8edc-0ecdded28594" providerId="ADAL" clId="{67DE474F-9E2C-4F68-B79B-1B1AA065A498}" dt="2021-04-01T21:10:47.678" v="50" actId="47"/>
        <pc:sldMkLst>
          <pc:docMk/>
          <pc:sldMk cId="365847107" sldId="925"/>
        </pc:sldMkLst>
      </pc:sldChg>
      <pc:sldChg chg="del">
        <pc:chgData name="christophe CHUECOS-FONT" userId="7e57acaa-4bc6-4644-8edc-0ecdded28594" providerId="ADAL" clId="{67DE474F-9E2C-4F68-B79B-1B1AA065A498}" dt="2021-04-01T21:10:48.582" v="51" actId="47"/>
        <pc:sldMkLst>
          <pc:docMk/>
          <pc:sldMk cId="4193262036" sldId="926"/>
        </pc:sldMkLst>
      </pc:sldChg>
      <pc:sldChg chg="del">
        <pc:chgData name="christophe CHUECOS-FONT" userId="7e57acaa-4bc6-4644-8edc-0ecdded28594" providerId="ADAL" clId="{67DE474F-9E2C-4F68-B79B-1B1AA065A498}" dt="2021-04-01T21:10:51.422" v="52" actId="47"/>
        <pc:sldMkLst>
          <pc:docMk/>
          <pc:sldMk cId="792487541" sldId="927"/>
        </pc:sldMkLst>
      </pc:sldChg>
      <pc:sldChg chg="ord">
        <pc:chgData name="christophe CHUECOS-FONT" userId="7e57acaa-4bc6-4644-8edc-0ecdded28594" providerId="ADAL" clId="{67DE474F-9E2C-4F68-B79B-1B1AA065A498}" dt="2021-04-01T21:11:21.710" v="54"/>
        <pc:sldMkLst>
          <pc:docMk/>
          <pc:sldMk cId="1603699342" sldId="928"/>
        </pc:sldMkLst>
      </pc:sldChg>
      <pc:sldChg chg="ord">
        <pc:chgData name="christophe CHUECOS-FONT" userId="7e57acaa-4bc6-4644-8edc-0ecdded28594" providerId="ADAL" clId="{67DE474F-9E2C-4F68-B79B-1B1AA065A498}" dt="2021-04-01T21:11:21.710" v="54"/>
        <pc:sldMkLst>
          <pc:docMk/>
          <pc:sldMk cId="838034858" sldId="929"/>
        </pc:sldMkLst>
      </pc:sldChg>
      <pc:sldChg chg="ord">
        <pc:chgData name="christophe CHUECOS-FONT" userId="7e57acaa-4bc6-4644-8edc-0ecdded28594" providerId="ADAL" clId="{67DE474F-9E2C-4F68-B79B-1B1AA065A498}" dt="2021-04-01T21:11:21.710" v="54"/>
        <pc:sldMkLst>
          <pc:docMk/>
          <pc:sldMk cId="2778287842" sldId="930"/>
        </pc:sldMkLst>
      </pc:sldChg>
      <pc:sldChg chg="ord">
        <pc:chgData name="christophe CHUECOS-FONT" userId="7e57acaa-4bc6-4644-8edc-0ecdded28594" providerId="ADAL" clId="{67DE474F-9E2C-4F68-B79B-1B1AA065A498}" dt="2021-04-01T21:11:21.710" v="54"/>
        <pc:sldMkLst>
          <pc:docMk/>
          <pc:sldMk cId="3403650375" sldId="931"/>
        </pc:sldMkLst>
      </pc:sldChg>
      <pc:sldChg chg="ord">
        <pc:chgData name="christophe CHUECOS-FONT" userId="7e57acaa-4bc6-4644-8edc-0ecdded28594" providerId="ADAL" clId="{67DE474F-9E2C-4F68-B79B-1B1AA065A498}" dt="2021-04-01T21:11:21.710" v="54"/>
        <pc:sldMkLst>
          <pc:docMk/>
          <pc:sldMk cId="908281077" sldId="932"/>
        </pc:sldMkLst>
      </pc:sldChg>
      <pc:sldChg chg="del">
        <pc:chgData name="christophe CHUECOS-FONT" userId="7e57acaa-4bc6-4644-8edc-0ecdded28594" providerId="ADAL" clId="{67DE474F-9E2C-4F68-B79B-1B1AA065A498}" dt="2021-04-01T21:10:27.379" v="41" actId="47"/>
        <pc:sldMkLst>
          <pc:docMk/>
          <pc:sldMk cId="388731633" sldId="933"/>
        </pc:sldMkLst>
      </pc:sldChg>
      <pc:sldChg chg="modSp add mod">
        <pc:chgData name="christophe CHUECOS-FONT" userId="7e57acaa-4bc6-4644-8edc-0ecdded28594" providerId="ADAL" clId="{67DE474F-9E2C-4F68-B79B-1B1AA065A498}" dt="2021-04-01T21:32:50.891" v="806" actId="13926"/>
        <pc:sldMkLst>
          <pc:docMk/>
          <pc:sldMk cId="2169269237" sldId="933"/>
        </pc:sldMkLst>
        <pc:spChg chg="mod">
          <ac:chgData name="christophe CHUECOS-FONT" userId="7e57acaa-4bc6-4644-8edc-0ecdded28594" providerId="ADAL" clId="{67DE474F-9E2C-4F68-B79B-1B1AA065A498}" dt="2021-04-01T21:23:08.150" v="491" actId="6549"/>
          <ac:spMkLst>
            <pc:docMk/>
            <pc:sldMk cId="2169269237" sldId="933"/>
            <ac:spMk id="2" creationId="{AEFCB68E-E041-4E46-A233-3C2208DA32CB}"/>
          </ac:spMkLst>
        </pc:spChg>
        <pc:spChg chg="mod">
          <ac:chgData name="christophe CHUECOS-FONT" userId="7e57acaa-4bc6-4644-8edc-0ecdded28594" providerId="ADAL" clId="{67DE474F-9E2C-4F68-B79B-1B1AA065A498}" dt="2021-04-01T21:32:50.891" v="806" actId="13926"/>
          <ac:spMkLst>
            <pc:docMk/>
            <pc:sldMk cId="2169269237" sldId="933"/>
            <ac:spMk id="3" creationId="{9FA71A85-160A-4CFF-9241-BA71D421B86B}"/>
          </ac:spMkLst>
        </pc:spChg>
      </pc:sldChg>
      <pc:sldChg chg="modSp add mod">
        <pc:chgData name="christophe CHUECOS-FONT" userId="7e57acaa-4bc6-4644-8edc-0ecdded28594" providerId="ADAL" clId="{67DE474F-9E2C-4F68-B79B-1B1AA065A498}" dt="2021-04-01T21:33:02.470" v="807" actId="13926"/>
        <pc:sldMkLst>
          <pc:docMk/>
          <pc:sldMk cId="1450746386" sldId="934"/>
        </pc:sldMkLst>
        <pc:spChg chg="mod">
          <ac:chgData name="christophe CHUECOS-FONT" userId="7e57acaa-4bc6-4644-8edc-0ecdded28594" providerId="ADAL" clId="{67DE474F-9E2C-4F68-B79B-1B1AA065A498}" dt="2021-04-01T21:33:02.470" v="807" actId="13926"/>
          <ac:spMkLst>
            <pc:docMk/>
            <pc:sldMk cId="1450746386" sldId="934"/>
            <ac:spMk id="2" creationId="{AEFCB68E-E041-4E46-A233-3C2208DA32CB}"/>
          </ac:spMkLst>
        </pc:spChg>
        <pc:spChg chg="mod">
          <ac:chgData name="christophe CHUECOS-FONT" userId="7e57acaa-4bc6-4644-8edc-0ecdded28594" providerId="ADAL" clId="{67DE474F-9E2C-4F68-B79B-1B1AA065A498}" dt="2021-04-01T21:26:28.698" v="624" actId="255"/>
          <ac:spMkLst>
            <pc:docMk/>
            <pc:sldMk cId="1450746386" sldId="934"/>
            <ac:spMk id="3" creationId="{9FA71A85-160A-4CFF-9241-BA71D421B86B}"/>
          </ac:spMkLst>
        </pc:spChg>
      </pc:sldChg>
      <pc:sldChg chg="del">
        <pc:chgData name="christophe CHUECOS-FONT" userId="7e57acaa-4bc6-4644-8edc-0ecdded28594" providerId="ADAL" clId="{67DE474F-9E2C-4F68-B79B-1B1AA065A498}" dt="2021-04-01T21:10:28.213" v="42" actId="47"/>
        <pc:sldMkLst>
          <pc:docMk/>
          <pc:sldMk cId="1994598111" sldId="934"/>
        </pc:sldMkLst>
      </pc:sldChg>
      <pc:sldChg chg="modSp add mod">
        <pc:chgData name="christophe CHUECOS-FONT" userId="7e57acaa-4bc6-4644-8edc-0ecdded28594" providerId="ADAL" clId="{67DE474F-9E2C-4F68-B79B-1B1AA065A498}" dt="2021-04-01T21:33:08.800" v="808" actId="13926"/>
        <pc:sldMkLst>
          <pc:docMk/>
          <pc:sldMk cId="2411080194" sldId="935"/>
        </pc:sldMkLst>
        <pc:spChg chg="mod">
          <ac:chgData name="christophe CHUECOS-FONT" userId="7e57acaa-4bc6-4644-8edc-0ecdded28594" providerId="ADAL" clId="{67DE474F-9E2C-4F68-B79B-1B1AA065A498}" dt="2021-04-01T21:33:08.800" v="808" actId="13926"/>
          <ac:spMkLst>
            <pc:docMk/>
            <pc:sldMk cId="2411080194" sldId="935"/>
            <ac:spMk id="2" creationId="{AEFCB68E-E041-4E46-A233-3C2208DA32CB}"/>
          </ac:spMkLst>
        </pc:spChg>
        <pc:spChg chg="mod">
          <ac:chgData name="christophe CHUECOS-FONT" userId="7e57acaa-4bc6-4644-8edc-0ecdded28594" providerId="ADAL" clId="{67DE474F-9E2C-4F68-B79B-1B1AA065A498}" dt="2021-04-01T21:30:13.192" v="761" actId="255"/>
          <ac:spMkLst>
            <pc:docMk/>
            <pc:sldMk cId="2411080194" sldId="935"/>
            <ac:spMk id="3" creationId="{9FA71A85-160A-4CFF-9241-BA71D421B86B}"/>
          </ac:spMkLst>
        </pc:spChg>
      </pc:sldChg>
      <pc:sldChg chg="del">
        <pc:chgData name="christophe CHUECOS-FONT" userId="7e57acaa-4bc6-4644-8edc-0ecdded28594" providerId="ADAL" clId="{67DE474F-9E2C-4F68-B79B-1B1AA065A498}" dt="2021-04-01T21:10:28.913" v="43" actId="47"/>
        <pc:sldMkLst>
          <pc:docMk/>
          <pc:sldMk cId="3995244737" sldId="935"/>
        </pc:sldMkLst>
      </pc:sldChg>
      <pc:sldChg chg="modSp add mod">
        <pc:chgData name="christophe CHUECOS-FONT" userId="7e57acaa-4bc6-4644-8edc-0ecdded28594" providerId="ADAL" clId="{67DE474F-9E2C-4F68-B79B-1B1AA065A498}" dt="2021-04-01T21:33:14.864" v="809" actId="13926"/>
        <pc:sldMkLst>
          <pc:docMk/>
          <pc:sldMk cId="1723624915" sldId="936"/>
        </pc:sldMkLst>
        <pc:spChg chg="mod">
          <ac:chgData name="christophe CHUECOS-FONT" userId="7e57acaa-4bc6-4644-8edc-0ecdded28594" providerId="ADAL" clId="{67DE474F-9E2C-4F68-B79B-1B1AA065A498}" dt="2021-04-01T21:33:14.864" v="809" actId="13926"/>
          <ac:spMkLst>
            <pc:docMk/>
            <pc:sldMk cId="1723624915" sldId="936"/>
            <ac:spMk id="2" creationId="{AEFCB68E-E041-4E46-A233-3C2208DA32CB}"/>
          </ac:spMkLst>
        </pc:spChg>
        <pc:spChg chg="mod">
          <ac:chgData name="christophe CHUECOS-FONT" userId="7e57acaa-4bc6-4644-8edc-0ecdded28594" providerId="ADAL" clId="{67DE474F-9E2C-4F68-B79B-1B1AA065A498}" dt="2021-04-01T21:32:40.298" v="805" actId="27636"/>
          <ac:spMkLst>
            <pc:docMk/>
            <pc:sldMk cId="1723624915" sldId="936"/>
            <ac:spMk id="3" creationId="{9FA71A85-160A-4CFF-9241-BA71D421B86B}"/>
          </ac:spMkLst>
        </pc:spChg>
      </pc:sldChg>
      <pc:sldChg chg="del">
        <pc:chgData name="christophe CHUECOS-FONT" userId="7e57acaa-4bc6-4644-8edc-0ecdded28594" providerId="ADAL" clId="{67DE474F-9E2C-4F68-B79B-1B1AA065A498}" dt="2021-04-01T21:10:31.352" v="44" actId="47"/>
        <pc:sldMkLst>
          <pc:docMk/>
          <pc:sldMk cId="1796677580" sldId="936"/>
        </pc:sldMkLst>
      </pc:sldChg>
      <pc:sldChg chg="addSp delSp modSp new mod setBg">
        <pc:chgData name="christophe CHUECOS-FONT" userId="7e57acaa-4bc6-4644-8edc-0ecdded28594" providerId="ADAL" clId="{67DE474F-9E2C-4F68-B79B-1B1AA065A498}" dt="2021-04-01T21:36:00.259" v="936" actId="26606"/>
        <pc:sldMkLst>
          <pc:docMk/>
          <pc:sldMk cId="1052992918" sldId="937"/>
        </pc:sldMkLst>
        <pc:spChg chg="mod">
          <ac:chgData name="christophe CHUECOS-FONT" userId="7e57acaa-4bc6-4644-8edc-0ecdded28594" providerId="ADAL" clId="{67DE474F-9E2C-4F68-B79B-1B1AA065A498}" dt="2021-04-01T21:36:00.259" v="936" actId="26606"/>
          <ac:spMkLst>
            <pc:docMk/>
            <pc:sldMk cId="1052992918" sldId="937"/>
            <ac:spMk id="2" creationId="{63640490-C0F3-44D9-81D6-1745680AD197}"/>
          </ac:spMkLst>
        </pc:spChg>
        <pc:spChg chg="add del mod">
          <ac:chgData name="christophe CHUECOS-FONT" userId="7e57acaa-4bc6-4644-8edc-0ecdded28594" providerId="ADAL" clId="{67DE474F-9E2C-4F68-B79B-1B1AA065A498}" dt="2021-04-01T21:36:00.259" v="936" actId="26606"/>
          <ac:spMkLst>
            <pc:docMk/>
            <pc:sldMk cId="1052992918" sldId="937"/>
            <ac:spMk id="3" creationId="{2D99691B-C59F-4073-A547-50290F3D38CC}"/>
          </ac:spMkLst>
        </pc:spChg>
        <pc:spChg chg="add">
          <ac:chgData name="christophe CHUECOS-FONT" userId="7e57acaa-4bc6-4644-8edc-0ecdded28594" providerId="ADAL" clId="{67DE474F-9E2C-4F68-B79B-1B1AA065A498}" dt="2021-04-01T21:36:00.259" v="936" actId="26606"/>
          <ac:spMkLst>
            <pc:docMk/>
            <pc:sldMk cId="1052992918" sldId="937"/>
            <ac:spMk id="9" creationId="{6166C6D1-23AC-49C4-BA07-238E4E9F8CEB}"/>
          </ac:spMkLst>
        </pc:spChg>
        <pc:spChg chg="add del">
          <ac:chgData name="christophe CHUECOS-FONT" userId="7e57acaa-4bc6-4644-8edc-0ecdded28594" providerId="ADAL" clId="{67DE474F-9E2C-4F68-B79B-1B1AA065A498}" dt="2021-04-01T21:35:51.493" v="933" actId="26606"/>
          <ac:spMkLst>
            <pc:docMk/>
            <pc:sldMk cId="1052992918" sldId="937"/>
            <ac:spMk id="10" creationId="{86C7B4A1-154A-4DF0-AC46-F88D75A2E0FD}"/>
          </ac:spMkLst>
        </pc:spChg>
        <pc:spChg chg="add">
          <ac:chgData name="christophe CHUECOS-FONT" userId="7e57acaa-4bc6-4644-8edc-0ecdded28594" providerId="ADAL" clId="{67DE474F-9E2C-4F68-B79B-1B1AA065A498}" dt="2021-04-01T21:36:00.259" v="936" actId="26606"/>
          <ac:spMkLst>
            <pc:docMk/>
            <pc:sldMk cId="1052992918" sldId="937"/>
            <ac:spMk id="11" creationId="{B775CD93-9DF2-48CB-9F57-1BCA9A46C7FA}"/>
          </ac:spMkLst>
        </pc:spChg>
        <pc:spChg chg="add">
          <ac:chgData name="christophe CHUECOS-FONT" userId="7e57acaa-4bc6-4644-8edc-0ecdded28594" providerId="ADAL" clId="{67DE474F-9E2C-4F68-B79B-1B1AA065A498}" dt="2021-04-01T21:36:00.259" v="936" actId="26606"/>
          <ac:spMkLst>
            <pc:docMk/>
            <pc:sldMk cId="1052992918" sldId="937"/>
            <ac:spMk id="13" creationId="{E186B68C-84BC-4A6E-99D1-EE87483C1349}"/>
          </ac:spMkLst>
        </pc:spChg>
        <pc:spChg chg="add">
          <ac:chgData name="christophe CHUECOS-FONT" userId="7e57acaa-4bc6-4644-8edc-0ecdded28594" providerId="ADAL" clId="{67DE474F-9E2C-4F68-B79B-1B1AA065A498}" dt="2021-04-01T21:36:00.259" v="936" actId="26606"/>
          <ac:spMkLst>
            <pc:docMk/>
            <pc:sldMk cId="1052992918" sldId="937"/>
            <ac:spMk id="15" creationId="{1C091803-41C2-48E0-9228-5148460C7479}"/>
          </ac:spMkLst>
        </pc:spChg>
        <pc:graphicFrameChg chg="add del">
          <ac:chgData name="christophe CHUECOS-FONT" userId="7e57acaa-4bc6-4644-8edc-0ecdded28594" providerId="ADAL" clId="{67DE474F-9E2C-4F68-B79B-1B1AA065A498}" dt="2021-04-01T21:35:51.493" v="933" actId="26606"/>
          <ac:graphicFrameMkLst>
            <pc:docMk/>
            <pc:sldMk cId="1052992918" sldId="937"/>
            <ac:graphicFrameMk id="5" creationId="{7993830B-A9DD-418B-80B4-7F82093E884D}"/>
          </ac:graphicFrameMkLst>
        </pc:graphicFrameChg>
        <pc:graphicFrameChg chg="add del">
          <ac:chgData name="christophe CHUECOS-FONT" userId="7e57acaa-4bc6-4644-8edc-0ecdded28594" providerId="ADAL" clId="{67DE474F-9E2C-4F68-B79B-1B1AA065A498}" dt="2021-04-01T21:36:00.234" v="935" actId="26606"/>
          <ac:graphicFrameMkLst>
            <pc:docMk/>
            <pc:sldMk cId="1052992918" sldId="937"/>
            <ac:graphicFrameMk id="12" creationId="{3618370D-B6B4-4FF8-A586-C25EF52F9BBC}"/>
          </ac:graphicFrameMkLst>
        </pc:graphicFrameChg>
        <pc:graphicFrameChg chg="add">
          <ac:chgData name="christophe CHUECOS-FONT" userId="7e57acaa-4bc6-4644-8edc-0ecdded28594" providerId="ADAL" clId="{67DE474F-9E2C-4F68-B79B-1B1AA065A498}" dt="2021-04-01T21:36:00.259" v="936" actId="26606"/>
          <ac:graphicFrameMkLst>
            <pc:docMk/>
            <pc:sldMk cId="1052992918" sldId="937"/>
            <ac:graphicFrameMk id="14" creationId="{2BB19B92-6157-48A5-9537-3DD5511B310B}"/>
          </ac:graphicFrameMkLst>
        </pc:graphicFrameChg>
        <pc:picChg chg="add del">
          <ac:chgData name="christophe CHUECOS-FONT" userId="7e57acaa-4bc6-4644-8edc-0ecdded28594" providerId="ADAL" clId="{67DE474F-9E2C-4F68-B79B-1B1AA065A498}" dt="2021-04-01T21:35:51.493" v="933" actId="26606"/>
          <ac:picMkLst>
            <pc:docMk/>
            <pc:sldMk cId="1052992918" sldId="937"/>
            <ac:picMk id="6" creationId="{8C8C10D7-7672-4804-9612-77425C9ED6CD}"/>
          </ac:picMkLst>
        </pc:picChg>
      </pc:sldChg>
      <pc:sldChg chg="del">
        <pc:chgData name="christophe CHUECOS-FONT" userId="7e57acaa-4bc6-4644-8edc-0ecdded28594" providerId="ADAL" clId="{67DE474F-9E2C-4F68-B79B-1B1AA065A498}" dt="2021-04-01T21:10:32.896" v="45" actId="47"/>
        <pc:sldMkLst>
          <pc:docMk/>
          <pc:sldMk cId="3725550176" sldId="937"/>
        </pc:sldMkLst>
      </pc:sldChg>
      <pc:sldChg chg="del">
        <pc:chgData name="christophe CHUECOS-FONT" userId="7e57acaa-4bc6-4644-8edc-0ecdded28594" providerId="ADAL" clId="{67DE474F-9E2C-4F68-B79B-1B1AA065A498}" dt="2021-04-01T21:10:33.182" v="46" actId="47"/>
        <pc:sldMkLst>
          <pc:docMk/>
          <pc:sldMk cId="69180362" sldId="938"/>
        </pc:sldMkLst>
      </pc:sldChg>
      <pc:sldChg chg="addSp modSp new mod setBg">
        <pc:chgData name="christophe CHUECOS-FONT" userId="7e57acaa-4bc6-4644-8edc-0ecdded28594" providerId="ADAL" clId="{67DE474F-9E2C-4F68-B79B-1B1AA065A498}" dt="2021-04-01T21:37:03.430" v="966" actId="26606"/>
        <pc:sldMkLst>
          <pc:docMk/>
          <pc:sldMk cId="705635903" sldId="938"/>
        </pc:sldMkLst>
        <pc:spChg chg="mod">
          <ac:chgData name="christophe CHUECOS-FONT" userId="7e57acaa-4bc6-4644-8edc-0ecdded28594" providerId="ADAL" clId="{67DE474F-9E2C-4F68-B79B-1B1AA065A498}" dt="2021-04-01T21:37:03.430" v="966" actId="26606"/>
          <ac:spMkLst>
            <pc:docMk/>
            <pc:sldMk cId="705635903" sldId="938"/>
            <ac:spMk id="2" creationId="{C44BAECA-A9E7-4228-AF29-CC35BA2FAE2C}"/>
          </ac:spMkLst>
        </pc:spChg>
        <pc:spChg chg="mod">
          <ac:chgData name="christophe CHUECOS-FONT" userId="7e57acaa-4bc6-4644-8edc-0ecdded28594" providerId="ADAL" clId="{67DE474F-9E2C-4F68-B79B-1B1AA065A498}" dt="2021-04-01T21:37:03.430" v="966" actId="26606"/>
          <ac:spMkLst>
            <pc:docMk/>
            <pc:sldMk cId="705635903" sldId="938"/>
            <ac:spMk id="3" creationId="{DADE19F3-635F-4ED7-91EC-7D07BAA72972}"/>
          </ac:spMkLst>
        </pc:spChg>
        <pc:spChg chg="add">
          <ac:chgData name="christophe CHUECOS-FONT" userId="7e57acaa-4bc6-4644-8edc-0ecdded28594" providerId="ADAL" clId="{67DE474F-9E2C-4F68-B79B-1B1AA065A498}" dt="2021-04-01T21:37:03.430" v="966" actId="26606"/>
          <ac:spMkLst>
            <pc:docMk/>
            <pc:sldMk cId="705635903" sldId="938"/>
            <ac:spMk id="8" creationId="{B775CD93-9DF2-48CB-9F57-1BCA9A46C7FA}"/>
          </ac:spMkLst>
        </pc:spChg>
        <pc:spChg chg="add">
          <ac:chgData name="christophe CHUECOS-FONT" userId="7e57acaa-4bc6-4644-8edc-0ecdded28594" providerId="ADAL" clId="{67DE474F-9E2C-4F68-B79B-1B1AA065A498}" dt="2021-04-01T21:37:03.430" v="966" actId="26606"/>
          <ac:spMkLst>
            <pc:docMk/>
            <pc:sldMk cId="705635903" sldId="938"/>
            <ac:spMk id="10" creationId="{6166C6D1-23AC-49C4-BA07-238E4E9F8CEB}"/>
          </ac:spMkLst>
        </pc:spChg>
        <pc:spChg chg="add">
          <ac:chgData name="christophe CHUECOS-FONT" userId="7e57acaa-4bc6-4644-8edc-0ecdded28594" providerId="ADAL" clId="{67DE474F-9E2C-4F68-B79B-1B1AA065A498}" dt="2021-04-01T21:37:03.430" v="966" actId="26606"/>
          <ac:spMkLst>
            <pc:docMk/>
            <pc:sldMk cId="705635903" sldId="938"/>
            <ac:spMk id="12" creationId="{1C091803-41C2-48E0-9228-5148460C7479}"/>
          </ac:spMkLst>
        </pc:spChg>
      </pc:sldChg>
      <pc:sldChg chg="addSp delSp modSp add mod">
        <pc:chgData name="christophe CHUECOS-FONT" userId="7e57acaa-4bc6-4644-8edc-0ecdded28594" providerId="ADAL" clId="{67DE474F-9E2C-4F68-B79B-1B1AA065A498}" dt="2021-04-01T21:39:05.700" v="975" actId="26606"/>
        <pc:sldMkLst>
          <pc:docMk/>
          <pc:sldMk cId="3694353539" sldId="939"/>
        </pc:sldMkLst>
        <pc:spChg chg="mod">
          <ac:chgData name="christophe CHUECOS-FONT" userId="7e57acaa-4bc6-4644-8edc-0ecdded28594" providerId="ADAL" clId="{67DE474F-9E2C-4F68-B79B-1B1AA065A498}" dt="2021-04-01T21:39:05.700" v="975" actId="26606"/>
          <ac:spMkLst>
            <pc:docMk/>
            <pc:sldMk cId="3694353539" sldId="939"/>
            <ac:spMk id="2" creationId="{C44BAECA-A9E7-4228-AF29-CC35BA2FAE2C}"/>
          </ac:spMkLst>
        </pc:spChg>
        <pc:spChg chg="add del mod">
          <ac:chgData name="christophe CHUECOS-FONT" userId="7e57acaa-4bc6-4644-8edc-0ecdded28594" providerId="ADAL" clId="{67DE474F-9E2C-4F68-B79B-1B1AA065A498}" dt="2021-04-01T21:39:05.700" v="975" actId="26606"/>
          <ac:spMkLst>
            <pc:docMk/>
            <pc:sldMk cId="3694353539" sldId="939"/>
            <ac:spMk id="3" creationId="{DADE19F3-635F-4ED7-91EC-7D07BAA72972}"/>
          </ac:spMkLst>
        </pc:spChg>
        <pc:spChg chg="add del">
          <ac:chgData name="christophe CHUECOS-FONT" userId="7e57acaa-4bc6-4644-8edc-0ecdded28594" providerId="ADAL" clId="{67DE474F-9E2C-4F68-B79B-1B1AA065A498}" dt="2021-04-01T21:39:05.700" v="975" actId="26606"/>
          <ac:spMkLst>
            <pc:docMk/>
            <pc:sldMk cId="3694353539" sldId="939"/>
            <ac:spMk id="8" creationId="{B775CD93-9DF2-48CB-9F57-1BCA9A46C7FA}"/>
          </ac:spMkLst>
        </pc:spChg>
        <pc:spChg chg="add del">
          <ac:chgData name="christophe CHUECOS-FONT" userId="7e57acaa-4bc6-4644-8edc-0ecdded28594" providerId="ADAL" clId="{67DE474F-9E2C-4F68-B79B-1B1AA065A498}" dt="2021-04-01T21:39:05.700" v="975" actId="26606"/>
          <ac:spMkLst>
            <pc:docMk/>
            <pc:sldMk cId="3694353539" sldId="939"/>
            <ac:spMk id="10" creationId="{6166C6D1-23AC-49C4-BA07-238E4E9F8CEB}"/>
          </ac:spMkLst>
        </pc:spChg>
        <pc:spChg chg="add del">
          <ac:chgData name="christophe CHUECOS-FONT" userId="7e57acaa-4bc6-4644-8edc-0ecdded28594" providerId="ADAL" clId="{67DE474F-9E2C-4F68-B79B-1B1AA065A498}" dt="2021-04-01T21:39:05.700" v="975" actId="26606"/>
          <ac:spMkLst>
            <pc:docMk/>
            <pc:sldMk cId="3694353539" sldId="939"/>
            <ac:spMk id="12" creationId="{1C091803-41C2-48E0-9228-5148460C7479}"/>
          </ac:spMkLst>
        </pc:spChg>
        <pc:spChg chg="add">
          <ac:chgData name="christophe CHUECOS-FONT" userId="7e57acaa-4bc6-4644-8edc-0ecdded28594" providerId="ADAL" clId="{67DE474F-9E2C-4F68-B79B-1B1AA065A498}" dt="2021-04-01T21:39:05.700" v="975" actId="26606"/>
          <ac:spMkLst>
            <pc:docMk/>
            <pc:sldMk cId="3694353539" sldId="939"/>
            <ac:spMk id="17" creationId="{B775CD93-9DF2-48CB-9F57-1BCA9A46C7FA}"/>
          </ac:spMkLst>
        </pc:spChg>
        <pc:spChg chg="add del">
          <ac:chgData name="christophe CHUECOS-FONT" userId="7e57acaa-4bc6-4644-8edc-0ecdded28594" providerId="ADAL" clId="{67DE474F-9E2C-4F68-B79B-1B1AA065A498}" dt="2021-04-01T21:39:05.676" v="974" actId="26606"/>
          <ac:spMkLst>
            <pc:docMk/>
            <pc:sldMk cId="3694353539" sldId="939"/>
            <ac:spMk id="19" creationId="{86C7B4A1-154A-4DF0-AC46-F88D75A2E0FD}"/>
          </ac:spMkLst>
        </pc:spChg>
        <pc:spChg chg="add">
          <ac:chgData name="christophe CHUECOS-FONT" userId="7e57acaa-4bc6-4644-8edc-0ecdded28594" providerId="ADAL" clId="{67DE474F-9E2C-4F68-B79B-1B1AA065A498}" dt="2021-04-01T21:39:05.700" v="975" actId="26606"/>
          <ac:spMkLst>
            <pc:docMk/>
            <pc:sldMk cId="3694353539" sldId="939"/>
            <ac:spMk id="21" creationId="{E186B68C-84BC-4A6E-99D1-EE87483C1349}"/>
          </ac:spMkLst>
        </pc:spChg>
        <pc:spChg chg="add">
          <ac:chgData name="christophe CHUECOS-FONT" userId="7e57acaa-4bc6-4644-8edc-0ecdded28594" providerId="ADAL" clId="{67DE474F-9E2C-4F68-B79B-1B1AA065A498}" dt="2021-04-01T21:39:05.700" v="975" actId="26606"/>
          <ac:spMkLst>
            <pc:docMk/>
            <pc:sldMk cId="3694353539" sldId="939"/>
            <ac:spMk id="22" creationId="{1C091803-41C2-48E0-9228-5148460C7479}"/>
          </ac:spMkLst>
        </pc:spChg>
        <pc:spChg chg="add">
          <ac:chgData name="christophe CHUECOS-FONT" userId="7e57acaa-4bc6-4644-8edc-0ecdded28594" providerId="ADAL" clId="{67DE474F-9E2C-4F68-B79B-1B1AA065A498}" dt="2021-04-01T21:39:05.700" v="975" actId="26606"/>
          <ac:spMkLst>
            <pc:docMk/>
            <pc:sldMk cId="3694353539" sldId="939"/>
            <ac:spMk id="23" creationId="{6166C6D1-23AC-49C4-BA07-238E4E9F8CEB}"/>
          </ac:spMkLst>
        </pc:spChg>
        <pc:spChg chg="add">
          <ac:chgData name="christophe CHUECOS-FONT" userId="7e57acaa-4bc6-4644-8edc-0ecdded28594" providerId="ADAL" clId="{67DE474F-9E2C-4F68-B79B-1B1AA065A498}" dt="2021-04-01T21:39:05.700" v="975" actId="26606"/>
          <ac:spMkLst>
            <pc:docMk/>
            <pc:sldMk cId="3694353539" sldId="939"/>
            <ac:spMk id="24" creationId="{DADE19F3-635F-4ED7-91EC-7D07BAA72972}"/>
          </ac:spMkLst>
        </pc:spChg>
        <pc:graphicFrameChg chg="add del">
          <ac:chgData name="christophe CHUECOS-FONT" userId="7e57acaa-4bc6-4644-8edc-0ecdded28594" providerId="ADAL" clId="{67DE474F-9E2C-4F68-B79B-1B1AA065A498}" dt="2021-04-01T21:39:05.676" v="974" actId="26606"/>
          <ac:graphicFrameMkLst>
            <pc:docMk/>
            <pc:sldMk cId="3694353539" sldId="939"/>
            <ac:graphicFrameMk id="14" creationId="{C9FFAB8F-03FC-4F5F-A6BE-9E40932CF4B4}"/>
          </ac:graphicFrameMkLst>
        </pc:graphicFrameChg>
        <pc:picChg chg="add del">
          <ac:chgData name="christophe CHUECOS-FONT" userId="7e57acaa-4bc6-4644-8edc-0ecdded28594" providerId="ADAL" clId="{67DE474F-9E2C-4F68-B79B-1B1AA065A498}" dt="2021-04-01T21:39:05.676" v="974" actId="26606"/>
          <ac:picMkLst>
            <pc:docMk/>
            <pc:sldMk cId="3694353539" sldId="939"/>
            <ac:picMk id="15" creationId="{07EF75FC-FBF2-40EC-91C8-B0CE7AE1F6CF}"/>
          </ac:picMkLst>
        </pc:picChg>
      </pc:sldChg>
      <pc:sldChg chg="addSp delSp modSp add mod">
        <pc:chgData name="christophe CHUECOS-FONT" userId="7e57acaa-4bc6-4644-8edc-0ecdded28594" providerId="ADAL" clId="{67DE474F-9E2C-4F68-B79B-1B1AA065A498}" dt="2021-04-01T21:43:09.735" v="1122" actId="20577"/>
        <pc:sldMkLst>
          <pc:docMk/>
          <pc:sldMk cId="2169397702" sldId="940"/>
        </pc:sldMkLst>
        <pc:spChg chg="mod">
          <ac:chgData name="christophe CHUECOS-FONT" userId="7e57acaa-4bc6-4644-8edc-0ecdded28594" providerId="ADAL" clId="{67DE474F-9E2C-4F68-B79B-1B1AA065A498}" dt="2021-04-01T21:42:39.274" v="1073" actId="26606"/>
          <ac:spMkLst>
            <pc:docMk/>
            <pc:sldMk cId="2169397702" sldId="940"/>
            <ac:spMk id="2" creationId="{C44BAECA-A9E7-4228-AF29-CC35BA2FAE2C}"/>
          </ac:spMkLst>
        </pc:spChg>
        <pc:spChg chg="add del">
          <ac:chgData name="christophe CHUECOS-FONT" userId="7e57acaa-4bc6-4644-8edc-0ecdded28594" providerId="ADAL" clId="{67DE474F-9E2C-4F68-B79B-1B1AA065A498}" dt="2021-04-01T21:41:09.855" v="1007"/>
          <ac:spMkLst>
            <pc:docMk/>
            <pc:sldMk cId="2169397702" sldId="940"/>
            <ac:spMk id="3" creationId="{A3C784F3-EF66-4CA0-A3B8-DC416FE24AB3}"/>
          </ac:spMkLst>
        </pc:spChg>
        <pc:spChg chg="add del mod">
          <ac:chgData name="christophe CHUECOS-FONT" userId="7e57acaa-4bc6-4644-8edc-0ecdded28594" providerId="ADAL" clId="{67DE474F-9E2C-4F68-B79B-1B1AA065A498}" dt="2021-04-01T21:41:47.676" v="1010"/>
          <ac:spMkLst>
            <pc:docMk/>
            <pc:sldMk cId="2169397702" sldId="940"/>
            <ac:spMk id="4" creationId="{4E4DEEEE-C70F-4C7D-B3DE-999E97A201B2}"/>
          </ac:spMkLst>
        </pc:spChg>
        <pc:spChg chg="del">
          <ac:chgData name="christophe CHUECOS-FONT" userId="7e57acaa-4bc6-4644-8edc-0ecdded28594" providerId="ADAL" clId="{67DE474F-9E2C-4F68-B79B-1B1AA065A498}" dt="2021-04-01T21:42:39.274" v="1073" actId="26606"/>
          <ac:spMkLst>
            <pc:docMk/>
            <pc:sldMk cId="2169397702" sldId="940"/>
            <ac:spMk id="17" creationId="{B775CD93-9DF2-48CB-9F57-1BCA9A46C7FA}"/>
          </ac:spMkLst>
        </pc:spChg>
        <pc:spChg chg="del">
          <ac:chgData name="christophe CHUECOS-FONT" userId="7e57acaa-4bc6-4644-8edc-0ecdded28594" providerId="ADAL" clId="{67DE474F-9E2C-4F68-B79B-1B1AA065A498}" dt="2021-04-01T21:42:39.274" v="1073" actId="26606"/>
          <ac:spMkLst>
            <pc:docMk/>
            <pc:sldMk cId="2169397702" sldId="940"/>
            <ac:spMk id="21" creationId="{E186B68C-84BC-4A6E-99D1-EE87483C1349}"/>
          </ac:spMkLst>
        </pc:spChg>
        <pc:spChg chg="del">
          <ac:chgData name="christophe CHUECOS-FONT" userId="7e57acaa-4bc6-4644-8edc-0ecdded28594" providerId="ADAL" clId="{67DE474F-9E2C-4F68-B79B-1B1AA065A498}" dt="2021-04-01T21:42:39.274" v="1073" actId="26606"/>
          <ac:spMkLst>
            <pc:docMk/>
            <pc:sldMk cId="2169397702" sldId="940"/>
            <ac:spMk id="22" creationId="{1C091803-41C2-48E0-9228-5148460C7479}"/>
          </ac:spMkLst>
        </pc:spChg>
        <pc:spChg chg="del">
          <ac:chgData name="christophe CHUECOS-FONT" userId="7e57acaa-4bc6-4644-8edc-0ecdded28594" providerId="ADAL" clId="{67DE474F-9E2C-4F68-B79B-1B1AA065A498}" dt="2021-04-01T21:42:39.274" v="1073" actId="26606"/>
          <ac:spMkLst>
            <pc:docMk/>
            <pc:sldMk cId="2169397702" sldId="940"/>
            <ac:spMk id="23" creationId="{6166C6D1-23AC-49C4-BA07-238E4E9F8CEB}"/>
          </ac:spMkLst>
        </pc:spChg>
        <pc:spChg chg="add del mod">
          <ac:chgData name="christophe CHUECOS-FONT" userId="7e57acaa-4bc6-4644-8edc-0ecdded28594" providerId="ADAL" clId="{67DE474F-9E2C-4F68-B79B-1B1AA065A498}" dt="2021-04-01T21:43:09.735" v="1122" actId="20577"/>
          <ac:spMkLst>
            <pc:docMk/>
            <pc:sldMk cId="2169397702" sldId="940"/>
            <ac:spMk id="24" creationId="{DADE19F3-635F-4ED7-91EC-7D07BAA72972}"/>
          </ac:spMkLst>
        </pc:spChg>
        <pc:spChg chg="add">
          <ac:chgData name="christophe CHUECOS-FONT" userId="7e57acaa-4bc6-4644-8edc-0ecdded28594" providerId="ADAL" clId="{67DE474F-9E2C-4F68-B79B-1B1AA065A498}" dt="2021-04-01T21:42:39.274" v="1073" actId="26606"/>
          <ac:spMkLst>
            <pc:docMk/>
            <pc:sldMk cId="2169397702" sldId="940"/>
            <ac:spMk id="29" creationId="{6F5A5072-7B47-4D32-B52A-4EBBF590B8A5}"/>
          </ac:spMkLst>
        </pc:spChg>
        <pc:spChg chg="add">
          <ac:chgData name="christophe CHUECOS-FONT" userId="7e57acaa-4bc6-4644-8edc-0ecdded28594" providerId="ADAL" clId="{67DE474F-9E2C-4F68-B79B-1B1AA065A498}" dt="2021-04-01T21:42:39.274" v="1073" actId="26606"/>
          <ac:spMkLst>
            <pc:docMk/>
            <pc:sldMk cId="2169397702" sldId="940"/>
            <ac:spMk id="31" creationId="{9715DAF0-AE1B-46C9-8A6B-DB2AA05AB91D}"/>
          </ac:spMkLst>
        </pc:spChg>
        <pc:spChg chg="add">
          <ac:chgData name="christophe CHUECOS-FONT" userId="7e57acaa-4bc6-4644-8edc-0ecdded28594" providerId="ADAL" clId="{67DE474F-9E2C-4F68-B79B-1B1AA065A498}" dt="2021-04-01T21:42:39.274" v="1073" actId="26606"/>
          <ac:spMkLst>
            <pc:docMk/>
            <pc:sldMk cId="2169397702" sldId="940"/>
            <ac:spMk id="33" creationId="{6016219D-510E-4184-9090-6D5578A87BD1}"/>
          </ac:spMkLst>
        </pc:spChg>
        <pc:spChg chg="add">
          <ac:chgData name="christophe CHUECOS-FONT" userId="7e57acaa-4bc6-4644-8edc-0ecdded28594" providerId="ADAL" clId="{67DE474F-9E2C-4F68-B79B-1B1AA065A498}" dt="2021-04-01T21:42:39.274" v="1073" actId="26606"/>
          <ac:spMkLst>
            <pc:docMk/>
            <pc:sldMk cId="2169397702" sldId="940"/>
            <ac:spMk id="35" creationId="{AFF4A713-7B75-4B21-90D7-5AB19547C728}"/>
          </ac:spMkLst>
        </pc:spChg>
        <pc:spChg chg="add">
          <ac:chgData name="christophe CHUECOS-FONT" userId="7e57acaa-4bc6-4644-8edc-0ecdded28594" providerId="ADAL" clId="{67DE474F-9E2C-4F68-B79B-1B1AA065A498}" dt="2021-04-01T21:42:39.274" v="1073" actId="26606"/>
          <ac:spMkLst>
            <pc:docMk/>
            <pc:sldMk cId="2169397702" sldId="940"/>
            <ac:spMk id="37" creationId="{DC631C0B-6DA6-4E57-8231-CE32B3434A7E}"/>
          </ac:spMkLst>
        </pc:spChg>
        <pc:spChg chg="add">
          <ac:chgData name="christophe CHUECOS-FONT" userId="7e57acaa-4bc6-4644-8edc-0ecdded28594" providerId="ADAL" clId="{67DE474F-9E2C-4F68-B79B-1B1AA065A498}" dt="2021-04-01T21:42:39.274" v="1073" actId="26606"/>
          <ac:spMkLst>
            <pc:docMk/>
            <pc:sldMk cId="2169397702" sldId="940"/>
            <ac:spMk id="39" creationId="{C29501E6-A978-4A61-9689-9085AF97A53A}"/>
          </ac:spMkLst>
        </pc:spChg>
      </pc:sldChg>
      <pc:sldChg chg="modSp add mod">
        <pc:chgData name="christophe CHUECOS-FONT" userId="7e57acaa-4bc6-4644-8edc-0ecdded28594" providerId="ADAL" clId="{67DE474F-9E2C-4F68-B79B-1B1AA065A498}" dt="2021-04-01T21:43:37.552" v="1150" actId="20577"/>
        <pc:sldMkLst>
          <pc:docMk/>
          <pc:sldMk cId="4161496407" sldId="941"/>
        </pc:sldMkLst>
        <pc:spChg chg="mod">
          <ac:chgData name="christophe CHUECOS-FONT" userId="7e57acaa-4bc6-4644-8edc-0ecdded28594" providerId="ADAL" clId="{67DE474F-9E2C-4F68-B79B-1B1AA065A498}" dt="2021-04-01T21:43:28.920" v="1132" actId="20577"/>
          <ac:spMkLst>
            <pc:docMk/>
            <pc:sldMk cId="4161496407" sldId="941"/>
            <ac:spMk id="2" creationId="{C44BAECA-A9E7-4228-AF29-CC35BA2FAE2C}"/>
          </ac:spMkLst>
        </pc:spChg>
        <pc:spChg chg="mod">
          <ac:chgData name="christophe CHUECOS-FONT" userId="7e57acaa-4bc6-4644-8edc-0ecdded28594" providerId="ADAL" clId="{67DE474F-9E2C-4F68-B79B-1B1AA065A498}" dt="2021-04-01T21:43:37.552" v="1150" actId="20577"/>
          <ac:spMkLst>
            <pc:docMk/>
            <pc:sldMk cId="4161496407" sldId="941"/>
            <ac:spMk id="24" creationId="{DADE19F3-635F-4ED7-91EC-7D07BAA72972}"/>
          </ac:spMkLst>
        </pc:spChg>
      </pc:sldChg>
      <pc:sldChg chg="modSp add mod ord">
        <pc:chgData name="christophe CHUECOS-FONT" userId="7e57acaa-4bc6-4644-8edc-0ecdded28594" providerId="ADAL" clId="{67DE474F-9E2C-4F68-B79B-1B1AA065A498}" dt="2021-04-01T21:44:36.006" v="1172" actId="20577"/>
        <pc:sldMkLst>
          <pc:docMk/>
          <pc:sldMk cId="2395717442" sldId="942"/>
        </pc:sldMkLst>
        <pc:spChg chg="mod">
          <ac:chgData name="christophe CHUECOS-FONT" userId="7e57acaa-4bc6-4644-8edc-0ecdded28594" providerId="ADAL" clId="{67DE474F-9E2C-4F68-B79B-1B1AA065A498}" dt="2021-04-01T21:44:36.006" v="1172" actId="20577"/>
          <ac:spMkLst>
            <pc:docMk/>
            <pc:sldMk cId="2395717442" sldId="942"/>
            <ac:spMk id="5" creationId="{DFEA2082-E7DE-4453-8158-54F380B94285}"/>
          </ac:spMkLst>
        </pc:spChg>
      </pc:sldChg>
      <pc:sldChg chg="addSp delSp modSp new del mod setBg setClrOvrMap">
        <pc:chgData name="christophe CHUECOS-FONT" userId="7e57acaa-4bc6-4644-8edc-0ecdded28594" providerId="ADAL" clId="{67DE474F-9E2C-4F68-B79B-1B1AA065A498}" dt="2021-04-01T21:49:17.680" v="1292" actId="47"/>
        <pc:sldMkLst>
          <pc:docMk/>
          <pc:sldMk cId="131847212" sldId="943"/>
        </pc:sldMkLst>
        <pc:spChg chg="mod">
          <ac:chgData name="christophe CHUECOS-FONT" userId="7e57acaa-4bc6-4644-8edc-0ecdded28594" providerId="ADAL" clId="{67DE474F-9E2C-4F68-B79B-1B1AA065A498}" dt="2021-04-01T21:47:38.230" v="1231"/>
          <ac:spMkLst>
            <pc:docMk/>
            <pc:sldMk cId="131847212" sldId="943"/>
            <ac:spMk id="2" creationId="{9BC3076F-0B25-422C-87D9-4D5F7D02130A}"/>
          </ac:spMkLst>
        </pc:spChg>
        <pc:spChg chg="del">
          <ac:chgData name="christophe CHUECOS-FONT" userId="7e57acaa-4bc6-4644-8edc-0ecdded28594" providerId="ADAL" clId="{67DE474F-9E2C-4F68-B79B-1B1AA065A498}" dt="2021-04-01T21:46:15.104" v="1218" actId="26606"/>
          <ac:spMkLst>
            <pc:docMk/>
            <pc:sldMk cId="131847212" sldId="943"/>
            <ac:spMk id="3" creationId="{2A548B20-01F5-4174-9B6B-5A7A83DC6FCF}"/>
          </ac:spMkLst>
        </pc:spChg>
        <pc:spChg chg="add del">
          <ac:chgData name="christophe CHUECOS-FONT" userId="7e57acaa-4bc6-4644-8edc-0ecdded28594" providerId="ADAL" clId="{67DE474F-9E2C-4F68-B79B-1B1AA065A498}" dt="2021-04-01T21:46:45.170" v="1222" actId="26606"/>
          <ac:spMkLst>
            <pc:docMk/>
            <pc:sldMk cId="131847212" sldId="943"/>
            <ac:spMk id="9" creationId="{C1DD1A8A-57D5-4A81-AD04-532B043C5611}"/>
          </ac:spMkLst>
        </pc:spChg>
        <pc:spChg chg="add del">
          <ac:chgData name="christophe CHUECOS-FONT" userId="7e57acaa-4bc6-4644-8edc-0ecdded28594" providerId="ADAL" clId="{67DE474F-9E2C-4F68-B79B-1B1AA065A498}" dt="2021-04-01T21:46:45.170" v="1222" actId="26606"/>
          <ac:spMkLst>
            <pc:docMk/>
            <pc:sldMk cId="131847212" sldId="943"/>
            <ac:spMk id="11" creationId="{007891EC-4501-44ED-A8C8-B11B6DB767AB}"/>
          </ac:spMkLst>
        </pc:spChg>
        <pc:picChg chg="add mod">
          <ac:chgData name="christophe CHUECOS-FONT" userId="7e57acaa-4bc6-4644-8edc-0ecdded28594" providerId="ADAL" clId="{67DE474F-9E2C-4F68-B79B-1B1AA065A498}" dt="2021-04-01T21:46:45.170" v="1222" actId="26606"/>
          <ac:picMkLst>
            <pc:docMk/>
            <pc:sldMk cId="131847212" sldId="943"/>
            <ac:picMk id="5" creationId="{71304045-47C1-47F2-A512-6699A4BC5BFA}"/>
          </ac:picMkLst>
        </pc:picChg>
      </pc:sldChg>
      <pc:sldChg chg="addSp delSp modSp new mod setBg">
        <pc:chgData name="christophe CHUECOS-FONT" userId="7e57acaa-4bc6-4644-8edc-0ecdded28594" providerId="ADAL" clId="{67DE474F-9E2C-4F68-B79B-1B1AA065A498}" dt="2021-04-01T21:48:27.922" v="1286" actId="27636"/>
        <pc:sldMkLst>
          <pc:docMk/>
          <pc:sldMk cId="2389229991" sldId="944"/>
        </pc:sldMkLst>
        <pc:spChg chg="mod">
          <ac:chgData name="christophe CHUECOS-FONT" userId="7e57acaa-4bc6-4644-8edc-0ecdded28594" providerId="ADAL" clId="{67DE474F-9E2C-4F68-B79B-1B1AA065A498}" dt="2021-04-01T21:48:27.922" v="1286" actId="27636"/>
          <ac:spMkLst>
            <pc:docMk/>
            <pc:sldMk cId="2389229991" sldId="944"/>
            <ac:spMk id="2" creationId="{70302103-84FE-4480-B011-DA713F71A627}"/>
          </ac:spMkLst>
        </pc:spChg>
        <pc:spChg chg="del mod">
          <ac:chgData name="christophe CHUECOS-FONT" userId="7e57acaa-4bc6-4644-8edc-0ecdded28594" providerId="ADAL" clId="{67DE474F-9E2C-4F68-B79B-1B1AA065A498}" dt="2021-04-01T21:48:21.934" v="1283" actId="26606"/>
          <ac:spMkLst>
            <pc:docMk/>
            <pc:sldMk cId="2389229991" sldId="944"/>
            <ac:spMk id="3" creationId="{3D308ED2-B348-48F7-B8ED-CDCEC0E133F8}"/>
          </ac:spMkLst>
        </pc:spChg>
        <pc:spChg chg="add">
          <ac:chgData name="christophe CHUECOS-FONT" userId="7e57acaa-4bc6-4644-8edc-0ecdded28594" providerId="ADAL" clId="{67DE474F-9E2C-4F68-B79B-1B1AA065A498}" dt="2021-04-01T21:48:21.934" v="1283" actId="26606"/>
          <ac:spMkLst>
            <pc:docMk/>
            <pc:sldMk cId="2389229991" sldId="944"/>
            <ac:spMk id="10" creationId="{86C7B4A1-154A-4DF0-AC46-F88D75A2E0FD}"/>
          </ac:spMkLst>
        </pc:spChg>
        <pc:graphicFrameChg chg="add">
          <ac:chgData name="christophe CHUECOS-FONT" userId="7e57acaa-4bc6-4644-8edc-0ecdded28594" providerId="ADAL" clId="{67DE474F-9E2C-4F68-B79B-1B1AA065A498}" dt="2021-04-01T21:48:21.934" v="1283" actId="26606"/>
          <ac:graphicFrameMkLst>
            <pc:docMk/>
            <pc:sldMk cId="2389229991" sldId="944"/>
            <ac:graphicFrameMk id="5" creationId="{2F997F44-93CA-4919-BCD6-0C6F18BCDBA8}"/>
          </ac:graphicFrameMkLst>
        </pc:graphicFrameChg>
        <pc:picChg chg="add">
          <ac:chgData name="christophe CHUECOS-FONT" userId="7e57acaa-4bc6-4644-8edc-0ecdded28594" providerId="ADAL" clId="{67DE474F-9E2C-4F68-B79B-1B1AA065A498}" dt="2021-04-01T21:48:21.934" v="1283" actId="26606"/>
          <ac:picMkLst>
            <pc:docMk/>
            <pc:sldMk cId="2389229991" sldId="944"/>
            <ac:picMk id="6" creationId="{433F55A5-F0D8-4923-9022-ADF91DBEA250}"/>
          </ac:picMkLst>
        </pc:picChg>
      </pc:sldChg>
      <pc:sldChg chg="addSp delSp modSp add mod setClrOvrMap">
        <pc:chgData name="christophe CHUECOS-FONT" userId="7e57acaa-4bc6-4644-8edc-0ecdded28594" providerId="ADAL" clId="{67DE474F-9E2C-4F68-B79B-1B1AA065A498}" dt="2021-04-01T21:49:33.294" v="1293" actId="26606"/>
        <pc:sldMkLst>
          <pc:docMk/>
          <pc:sldMk cId="3412986615" sldId="945"/>
        </pc:sldMkLst>
        <pc:spChg chg="mod">
          <ac:chgData name="christophe CHUECOS-FONT" userId="7e57acaa-4bc6-4644-8edc-0ecdded28594" providerId="ADAL" clId="{67DE474F-9E2C-4F68-B79B-1B1AA065A498}" dt="2021-04-01T21:49:33.294" v="1293" actId="26606"/>
          <ac:spMkLst>
            <pc:docMk/>
            <pc:sldMk cId="3412986615" sldId="945"/>
            <ac:spMk id="2" creationId="{70302103-84FE-4480-B011-DA713F71A627}"/>
          </ac:spMkLst>
        </pc:spChg>
        <pc:spChg chg="del">
          <ac:chgData name="christophe CHUECOS-FONT" userId="7e57acaa-4bc6-4644-8edc-0ecdded28594" providerId="ADAL" clId="{67DE474F-9E2C-4F68-B79B-1B1AA065A498}" dt="2021-04-01T21:49:33.294" v="1293" actId="26606"/>
          <ac:spMkLst>
            <pc:docMk/>
            <pc:sldMk cId="3412986615" sldId="945"/>
            <ac:spMk id="10" creationId="{86C7B4A1-154A-4DF0-AC46-F88D75A2E0FD}"/>
          </ac:spMkLst>
        </pc:spChg>
        <pc:spChg chg="add">
          <ac:chgData name="christophe CHUECOS-FONT" userId="7e57acaa-4bc6-4644-8edc-0ecdded28594" providerId="ADAL" clId="{67DE474F-9E2C-4F68-B79B-1B1AA065A498}" dt="2021-04-01T21:49:33.294" v="1293" actId="26606"/>
          <ac:spMkLst>
            <pc:docMk/>
            <pc:sldMk cId="3412986615" sldId="945"/>
            <ac:spMk id="15" creationId="{9228552E-C8B1-4A80-8448-0787CE0FC704}"/>
          </ac:spMkLst>
        </pc:spChg>
        <pc:graphicFrameChg chg="mod modGraphic">
          <ac:chgData name="christophe CHUECOS-FONT" userId="7e57acaa-4bc6-4644-8edc-0ecdded28594" providerId="ADAL" clId="{67DE474F-9E2C-4F68-B79B-1B1AA065A498}" dt="2021-04-01T21:49:33.294" v="1293" actId="26606"/>
          <ac:graphicFrameMkLst>
            <pc:docMk/>
            <pc:sldMk cId="3412986615" sldId="945"/>
            <ac:graphicFrameMk id="5" creationId="{2F997F44-93CA-4919-BCD6-0C6F18BCDBA8}"/>
          </ac:graphicFrameMkLst>
        </pc:graphicFrameChg>
        <pc:picChg chg="mod">
          <ac:chgData name="christophe CHUECOS-FONT" userId="7e57acaa-4bc6-4644-8edc-0ecdded28594" providerId="ADAL" clId="{67DE474F-9E2C-4F68-B79B-1B1AA065A498}" dt="2021-04-01T21:49:33.294" v="1293" actId="26606"/>
          <ac:picMkLst>
            <pc:docMk/>
            <pc:sldMk cId="3412986615" sldId="945"/>
            <ac:picMk id="6" creationId="{433F55A5-F0D8-4923-9022-ADF91DBEA250}"/>
          </ac:picMkLst>
        </pc:picChg>
      </pc:sldChg>
      <pc:sldChg chg="addSp delSp modSp new mod setBg">
        <pc:chgData name="christophe CHUECOS-FONT" userId="7e57acaa-4bc6-4644-8edc-0ecdded28594" providerId="ADAL" clId="{67DE474F-9E2C-4F68-B79B-1B1AA065A498}" dt="2021-04-01T21:54:18.790" v="1509" actId="255"/>
        <pc:sldMkLst>
          <pc:docMk/>
          <pc:sldMk cId="246643537" sldId="946"/>
        </pc:sldMkLst>
        <pc:spChg chg="mod">
          <ac:chgData name="christophe CHUECOS-FONT" userId="7e57acaa-4bc6-4644-8edc-0ecdded28594" providerId="ADAL" clId="{67DE474F-9E2C-4F68-B79B-1B1AA065A498}" dt="2021-04-01T21:53:20.357" v="1508" actId="26606"/>
          <ac:spMkLst>
            <pc:docMk/>
            <pc:sldMk cId="246643537" sldId="946"/>
            <ac:spMk id="2" creationId="{9908A016-1E9A-4DAD-AFB1-78E502EBDB78}"/>
          </ac:spMkLst>
        </pc:spChg>
        <pc:spChg chg="add del mod">
          <ac:chgData name="christophe CHUECOS-FONT" userId="7e57acaa-4bc6-4644-8edc-0ecdded28594" providerId="ADAL" clId="{67DE474F-9E2C-4F68-B79B-1B1AA065A498}" dt="2021-04-01T21:52:50.582" v="1505" actId="26606"/>
          <ac:spMkLst>
            <pc:docMk/>
            <pc:sldMk cId="246643537" sldId="946"/>
            <ac:spMk id="3" creationId="{15AB0BB4-1B82-4B32-84A2-3F0B0F17E1AC}"/>
          </ac:spMkLst>
        </pc:spChg>
        <pc:spChg chg="add">
          <ac:chgData name="christophe CHUECOS-FONT" userId="7e57acaa-4bc6-4644-8edc-0ecdded28594" providerId="ADAL" clId="{67DE474F-9E2C-4F68-B79B-1B1AA065A498}" dt="2021-04-01T21:53:20.357" v="1508" actId="26606"/>
          <ac:spMkLst>
            <pc:docMk/>
            <pc:sldMk cId="246643537" sldId="946"/>
            <ac:spMk id="12" creationId="{6C4028FD-8BAA-4A19-BFDE-594D991B7552}"/>
          </ac:spMkLst>
        </pc:spChg>
        <pc:graphicFrameChg chg="add del">
          <ac:chgData name="christophe CHUECOS-FONT" userId="7e57acaa-4bc6-4644-8edc-0ecdded28594" providerId="ADAL" clId="{67DE474F-9E2C-4F68-B79B-1B1AA065A498}" dt="2021-04-01T21:52:50.550" v="1504" actId="26606"/>
          <ac:graphicFrameMkLst>
            <pc:docMk/>
            <pc:sldMk cId="246643537" sldId="946"/>
            <ac:graphicFrameMk id="5" creationId="{5BA12AE8-2975-418E-BF3D-B097EF3D37B8}"/>
          </ac:graphicFrameMkLst>
        </pc:graphicFrameChg>
        <pc:graphicFrameChg chg="add mod modGraphic">
          <ac:chgData name="christophe CHUECOS-FONT" userId="7e57acaa-4bc6-4644-8edc-0ecdded28594" providerId="ADAL" clId="{67DE474F-9E2C-4F68-B79B-1B1AA065A498}" dt="2021-04-01T21:54:18.790" v="1509" actId="255"/>
          <ac:graphicFrameMkLst>
            <pc:docMk/>
            <pc:sldMk cId="246643537" sldId="946"/>
            <ac:graphicFrameMk id="7" creationId="{76BAA54C-1744-476C-B424-49C14E6B068F}"/>
          </ac:graphicFrameMkLst>
        </pc:graphicFrameChg>
      </pc:sldChg>
      <pc:sldChg chg="addSp delSp modSp new mod ord setBg">
        <pc:chgData name="christophe CHUECOS-FONT" userId="7e57acaa-4bc6-4644-8edc-0ecdded28594" providerId="ADAL" clId="{67DE474F-9E2C-4F68-B79B-1B1AA065A498}" dt="2021-04-01T22:04:27.735" v="1796"/>
        <pc:sldMkLst>
          <pc:docMk/>
          <pc:sldMk cId="3854939415" sldId="947"/>
        </pc:sldMkLst>
        <pc:spChg chg="mod">
          <ac:chgData name="christophe CHUECOS-FONT" userId="7e57acaa-4bc6-4644-8edc-0ecdded28594" providerId="ADAL" clId="{67DE474F-9E2C-4F68-B79B-1B1AA065A498}" dt="2021-04-01T22:04:04.023" v="1793" actId="26606"/>
          <ac:spMkLst>
            <pc:docMk/>
            <pc:sldMk cId="3854939415" sldId="947"/>
            <ac:spMk id="2" creationId="{AB4BD8A2-5C77-4F6B-ACB6-AB917A0C0D72}"/>
          </ac:spMkLst>
        </pc:spChg>
        <pc:spChg chg="mod">
          <ac:chgData name="christophe CHUECOS-FONT" userId="7e57acaa-4bc6-4644-8edc-0ecdded28594" providerId="ADAL" clId="{67DE474F-9E2C-4F68-B79B-1B1AA065A498}" dt="2021-04-01T22:04:15.694" v="1794" actId="255"/>
          <ac:spMkLst>
            <pc:docMk/>
            <pc:sldMk cId="3854939415" sldId="947"/>
            <ac:spMk id="3" creationId="{667BC496-97F0-4F08-B182-396A614F80AF}"/>
          </ac:spMkLst>
        </pc:spChg>
        <pc:spChg chg="add del">
          <ac:chgData name="christophe CHUECOS-FONT" userId="7e57acaa-4bc6-4644-8edc-0ecdded28594" providerId="ADAL" clId="{67DE474F-9E2C-4F68-B79B-1B1AA065A498}" dt="2021-04-01T22:04:04.023" v="1793" actId="26606"/>
          <ac:spMkLst>
            <pc:docMk/>
            <pc:sldMk cId="3854939415" sldId="947"/>
            <ac:spMk id="10" creationId="{944E28A0-F8F2-4190-AC08-73EF5A051BD4}"/>
          </ac:spMkLst>
        </pc:spChg>
        <pc:spChg chg="add">
          <ac:chgData name="christophe CHUECOS-FONT" userId="7e57acaa-4bc6-4644-8edc-0ecdded28594" providerId="ADAL" clId="{67DE474F-9E2C-4F68-B79B-1B1AA065A498}" dt="2021-04-01T22:04:04.023" v="1793" actId="26606"/>
          <ac:spMkLst>
            <pc:docMk/>
            <pc:sldMk cId="3854939415" sldId="947"/>
            <ac:spMk id="15" creationId="{3E443FD7-A66B-4AA0-872D-B088B9BC5F17}"/>
          </ac:spMkLst>
        </pc:spChg>
        <pc:spChg chg="add">
          <ac:chgData name="christophe CHUECOS-FONT" userId="7e57acaa-4bc6-4644-8edc-0ecdded28594" providerId="ADAL" clId="{67DE474F-9E2C-4F68-B79B-1B1AA065A498}" dt="2021-04-01T22:04:04.023" v="1793" actId="26606"/>
          <ac:spMkLst>
            <pc:docMk/>
            <pc:sldMk cId="3854939415" sldId="947"/>
            <ac:spMk id="17" creationId="{C04BE0EF-3561-49B4-9A29-F283168A91C7}"/>
          </ac:spMkLst>
        </pc:spChg>
        <pc:picChg chg="add mod">
          <ac:chgData name="christophe CHUECOS-FONT" userId="7e57acaa-4bc6-4644-8edc-0ecdded28594" providerId="ADAL" clId="{67DE474F-9E2C-4F68-B79B-1B1AA065A498}" dt="2021-04-01T22:04:04.023" v="1793" actId="26606"/>
          <ac:picMkLst>
            <pc:docMk/>
            <pc:sldMk cId="3854939415" sldId="947"/>
            <ac:picMk id="7" creationId="{E889F2CB-776F-4113-951A-136AF7AF2BD9}"/>
          </ac:picMkLst>
        </pc:picChg>
      </pc:sldChg>
      <pc:sldChg chg="addSp delSp modSp new mod setBg">
        <pc:chgData name="christophe CHUECOS-FONT" userId="7e57acaa-4bc6-4644-8edc-0ecdded28594" providerId="ADAL" clId="{67DE474F-9E2C-4F68-B79B-1B1AA065A498}" dt="2021-04-01T21:56:37.065" v="1594" actId="26606"/>
        <pc:sldMkLst>
          <pc:docMk/>
          <pc:sldMk cId="404236345" sldId="948"/>
        </pc:sldMkLst>
        <pc:spChg chg="mod">
          <ac:chgData name="christophe CHUECOS-FONT" userId="7e57acaa-4bc6-4644-8edc-0ecdded28594" providerId="ADAL" clId="{67DE474F-9E2C-4F68-B79B-1B1AA065A498}" dt="2021-04-01T21:56:37.065" v="1594" actId="26606"/>
          <ac:spMkLst>
            <pc:docMk/>
            <pc:sldMk cId="404236345" sldId="948"/>
            <ac:spMk id="2" creationId="{8D513513-2F52-4253-AF63-2B569A3E069F}"/>
          </ac:spMkLst>
        </pc:spChg>
        <pc:spChg chg="add del">
          <ac:chgData name="christophe CHUECOS-FONT" userId="7e57acaa-4bc6-4644-8edc-0ecdded28594" providerId="ADAL" clId="{67DE474F-9E2C-4F68-B79B-1B1AA065A498}" dt="2021-04-01T21:55:58.486" v="1590"/>
          <ac:spMkLst>
            <pc:docMk/>
            <pc:sldMk cId="404236345" sldId="948"/>
            <ac:spMk id="3" creationId="{4CFE8A5C-E8B0-4678-A9DA-BDAEDBEBB600}"/>
          </ac:spMkLst>
        </pc:spChg>
        <pc:spChg chg="add">
          <ac:chgData name="christophe CHUECOS-FONT" userId="7e57acaa-4bc6-4644-8edc-0ecdded28594" providerId="ADAL" clId="{67DE474F-9E2C-4F68-B79B-1B1AA065A498}" dt="2021-04-01T21:56:37.065" v="1594" actId="26606"/>
          <ac:spMkLst>
            <pc:docMk/>
            <pc:sldMk cId="404236345" sldId="948"/>
            <ac:spMk id="10" creationId="{6166C6D1-23AC-49C4-BA07-238E4E9F8CEB}"/>
          </ac:spMkLst>
        </pc:spChg>
        <pc:spChg chg="add">
          <ac:chgData name="christophe CHUECOS-FONT" userId="7e57acaa-4bc6-4644-8edc-0ecdded28594" providerId="ADAL" clId="{67DE474F-9E2C-4F68-B79B-1B1AA065A498}" dt="2021-04-01T21:56:37.065" v="1594" actId="26606"/>
          <ac:spMkLst>
            <pc:docMk/>
            <pc:sldMk cId="404236345" sldId="948"/>
            <ac:spMk id="12" creationId="{B775CD93-9DF2-48CB-9F57-1BCA9A46C7FA}"/>
          </ac:spMkLst>
        </pc:spChg>
        <pc:spChg chg="add">
          <ac:chgData name="christophe CHUECOS-FONT" userId="7e57acaa-4bc6-4644-8edc-0ecdded28594" providerId="ADAL" clId="{67DE474F-9E2C-4F68-B79B-1B1AA065A498}" dt="2021-04-01T21:56:37.065" v="1594" actId="26606"/>
          <ac:spMkLst>
            <pc:docMk/>
            <pc:sldMk cId="404236345" sldId="948"/>
            <ac:spMk id="14" creationId="{E186B68C-84BC-4A6E-99D1-EE87483C1349}"/>
          </ac:spMkLst>
        </pc:spChg>
        <pc:spChg chg="add">
          <ac:chgData name="christophe CHUECOS-FONT" userId="7e57acaa-4bc6-4644-8edc-0ecdded28594" providerId="ADAL" clId="{67DE474F-9E2C-4F68-B79B-1B1AA065A498}" dt="2021-04-01T21:56:37.065" v="1594" actId="26606"/>
          <ac:spMkLst>
            <pc:docMk/>
            <pc:sldMk cId="404236345" sldId="948"/>
            <ac:spMk id="16" creationId="{1C091803-41C2-48E0-9228-5148460C7479}"/>
          </ac:spMkLst>
        </pc:spChg>
        <pc:graphicFrameChg chg="add del mod">
          <ac:chgData name="christophe CHUECOS-FONT" userId="7e57acaa-4bc6-4644-8edc-0ecdded28594" providerId="ADAL" clId="{67DE474F-9E2C-4F68-B79B-1B1AA065A498}" dt="2021-04-01T21:55:48.620" v="1589"/>
          <ac:graphicFrameMkLst>
            <pc:docMk/>
            <pc:sldMk cId="404236345" sldId="948"/>
            <ac:graphicFrameMk id="4" creationId="{7AD60107-0291-45A8-B020-9811F5906237}"/>
          </ac:graphicFrameMkLst>
        </pc:graphicFrameChg>
        <pc:graphicFrameChg chg="add mod modGraphic">
          <ac:chgData name="christophe CHUECOS-FONT" userId="7e57acaa-4bc6-4644-8edc-0ecdded28594" providerId="ADAL" clId="{67DE474F-9E2C-4F68-B79B-1B1AA065A498}" dt="2021-04-01T21:56:37.065" v="1594" actId="26606"/>
          <ac:graphicFrameMkLst>
            <pc:docMk/>
            <pc:sldMk cId="404236345" sldId="948"/>
            <ac:graphicFrameMk id="5" creationId="{60A3C58A-134C-4B52-A66C-326E23765FEF}"/>
          </ac:graphicFrameMkLst>
        </pc:graphicFrameChg>
      </pc:sldChg>
      <pc:sldChg chg="addSp delSp modSp new mod setBg setClrOvrMap">
        <pc:chgData name="christophe CHUECOS-FONT" userId="7e57acaa-4bc6-4644-8edc-0ecdded28594" providerId="ADAL" clId="{67DE474F-9E2C-4F68-B79B-1B1AA065A498}" dt="2021-04-01T22:01:31.087" v="1666" actId="255"/>
        <pc:sldMkLst>
          <pc:docMk/>
          <pc:sldMk cId="2081772969" sldId="949"/>
        </pc:sldMkLst>
        <pc:spChg chg="mod">
          <ac:chgData name="christophe CHUECOS-FONT" userId="7e57acaa-4bc6-4644-8edc-0ecdded28594" providerId="ADAL" clId="{67DE474F-9E2C-4F68-B79B-1B1AA065A498}" dt="2021-04-01T22:01:12.031" v="1663" actId="26606"/>
          <ac:spMkLst>
            <pc:docMk/>
            <pc:sldMk cId="2081772969" sldId="949"/>
            <ac:spMk id="2" creationId="{E68639B9-77A1-4188-9120-BBBC0852D100}"/>
          </ac:spMkLst>
        </pc:spChg>
        <pc:spChg chg="del mod">
          <ac:chgData name="christophe CHUECOS-FONT" userId="7e57acaa-4bc6-4644-8edc-0ecdded28594" providerId="ADAL" clId="{67DE474F-9E2C-4F68-B79B-1B1AA065A498}" dt="2021-04-01T21:58:36.989" v="1622" actId="26606"/>
          <ac:spMkLst>
            <pc:docMk/>
            <pc:sldMk cId="2081772969" sldId="949"/>
            <ac:spMk id="3" creationId="{018050C4-92D7-4977-B5FF-EED7769B4138}"/>
          </ac:spMkLst>
        </pc:spChg>
        <pc:spChg chg="add del">
          <ac:chgData name="christophe CHUECOS-FONT" userId="7e57acaa-4bc6-4644-8edc-0ecdded28594" providerId="ADAL" clId="{67DE474F-9E2C-4F68-B79B-1B1AA065A498}" dt="2021-04-01T22:01:12.031" v="1663" actId="26606"/>
          <ac:spMkLst>
            <pc:docMk/>
            <pc:sldMk cId="2081772969" sldId="949"/>
            <ac:spMk id="9" creationId="{B775CD93-9DF2-48CB-9F57-1BCA9A46C7FA}"/>
          </ac:spMkLst>
        </pc:spChg>
        <pc:spChg chg="add del">
          <ac:chgData name="christophe CHUECOS-FONT" userId="7e57acaa-4bc6-4644-8edc-0ecdded28594" providerId="ADAL" clId="{67DE474F-9E2C-4F68-B79B-1B1AA065A498}" dt="2021-04-01T22:01:12.031" v="1663" actId="26606"/>
          <ac:spMkLst>
            <pc:docMk/>
            <pc:sldMk cId="2081772969" sldId="949"/>
            <ac:spMk id="11" creationId="{6166C6D1-23AC-49C4-BA07-238E4E9F8CEB}"/>
          </ac:spMkLst>
        </pc:spChg>
        <pc:spChg chg="add del">
          <ac:chgData name="christophe CHUECOS-FONT" userId="7e57acaa-4bc6-4644-8edc-0ecdded28594" providerId="ADAL" clId="{67DE474F-9E2C-4F68-B79B-1B1AA065A498}" dt="2021-04-01T22:01:12.031" v="1663" actId="26606"/>
          <ac:spMkLst>
            <pc:docMk/>
            <pc:sldMk cId="2081772969" sldId="949"/>
            <ac:spMk id="13" creationId="{E186B68C-84BC-4A6E-99D1-EE87483C1349}"/>
          </ac:spMkLst>
        </pc:spChg>
        <pc:spChg chg="add del">
          <ac:chgData name="christophe CHUECOS-FONT" userId="7e57acaa-4bc6-4644-8edc-0ecdded28594" providerId="ADAL" clId="{67DE474F-9E2C-4F68-B79B-1B1AA065A498}" dt="2021-04-01T22:01:12.031" v="1663" actId="26606"/>
          <ac:spMkLst>
            <pc:docMk/>
            <pc:sldMk cId="2081772969" sldId="949"/>
            <ac:spMk id="15" creationId="{1C091803-41C2-48E0-9228-5148460C7479}"/>
          </ac:spMkLst>
        </pc:spChg>
        <pc:spChg chg="add">
          <ac:chgData name="christophe CHUECOS-FONT" userId="7e57acaa-4bc6-4644-8edc-0ecdded28594" providerId="ADAL" clId="{67DE474F-9E2C-4F68-B79B-1B1AA065A498}" dt="2021-04-01T22:01:12.031" v="1663" actId="26606"/>
          <ac:spMkLst>
            <pc:docMk/>
            <pc:sldMk cId="2081772969" sldId="949"/>
            <ac:spMk id="20" creationId="{2E442304-DDBD-4F7B-8017-36BCC863FB40}"/>
          </ac:spMkLst>
        </pc:spChg>
        <pc:spChg chg="add del">
          <ac:chgData name="christophe CHUECOS-FONT" userId="7e57acaa-4bc6-4644-8edc-0ecdded28594" providerId="ADAL" clId="{67DE474F-9E2C-4F68-B79B-1B1AA065A498}" dt="2021-04-01T22:01:11.982" v="1662" actId="26606"/>
          <ac:spMkLst>
            <pc:docMk/>
            <pc:sldMk cId="2081772969" sldId="949"/>
            <ac:spMk id="21" creationId="{9228552E-C8B1-4A80-8448-0787CE0FC704}"/>
          </ac:spMkLst>
        </pc:spChg>
        <pc:spChg chg="add">
          <ac:chgData name="christophe CHUECOS-FONT" userId="7e57acaa-4bc6-4644-8edc-0ecdded28594" providerId="ADAL" clId="{67DE474F-9E2C-4F68-B79B-1B1AA065A498}" dt="2021-04-01T22:01:12.031" v="1663" actId="26606"/>
          <ac:spMkLst>
            <pc:docMk/>
            <pc:sldMk cId="2081772969" sldId="949"/>
            <ac:spMk id="22" creationId="{5E107275-3853-46FD-A241-DE4355A42675}"/>
          </ac:spMkLst>
        </pc:spChg>
        <pc:graphicFrameChg chg="add mod modGraphic">
          <ac:chgData name="christophe CHUECOS-FONT" userId="7e57acaa-4bc6-4644-8edc-0ecdded28594" providerId="ADAL" clId="{67DE474F-9E2C-4F68-B79B-1B1AA065A498}" dt="2021-04-01T22:01:31.087" v="1666" actId="255"/>
          <ac:graphicFrameMkLst>
            <pc:docMk/>
            <pc:sldMk cId="2081772969" sldId="949"/>
            <ac:graphicFrameMk id="5" creationId="{378E892E-3B3E-4743-AFE3-FFD5DEEECD15}"/>
          </ac:graphicFrameMkLst>
        </pc:graphicFrameChg>
        <pc:picChg chg="add del">
          <ac:chgData name="christophe CHUECOS-FONT" userId="7e57acaa-4bc6-4644-8edc-0ecdded28594" providerId="ADAL" clId="{67DE474F-9E2C-4F68-B79B-1B1AA065A498}" dt="2021-04-01T22:01:11.982" v="1662" actId="26606"/>
          <ac:picMkLst>
            <pc:docMk/>
            <pc:sldMk cId="2081772969" sldId="949"/>
            <ac:picMk id="17" creationId="{9B6235F9-7DA5-4D7C-8D23-F48A8E8B9EFA}"/>
          </ac:picMkLst>
        </pc:picChg>
      </pc:sldChg>
      <pc:sldChg chg="addSp delSp modSp add mod">
        <pc:chgData name="christophe CHUECOS-FONT" userId="7e57acaa-4bc6-4644-8edc-0ecdded28594" providerId="ADAL" clId="{67DE474F-9E2C-4F68-B79B-1B1AA065A498}" dt="2021-04-01T22:00:46.324" v="1660" actId="26606"/>
        <pc:sldMkLst>
          <pc:docMk/>
          <pc:sldMk cId="1251446674" sldId="950"/>
        </pc:sldMkLst>
        <pc:spChg chg="mod">
          <ac:chgData name="christophe CHUECOS-FONT" userId="7e57acaa-4bc6-4644-8edc-0ecdded28594" providerId="ADAL" clId="{67DE474F-9E2C-4F68-B79B-1B1AA065A498}" dt="2021-04-01T22:00:46.324" v="1660" actId="26606"/>
          <ac:spMkLst>
            <pc:docMk/>
            <pc:sldMk cId="1251446674" sldId="950"/>
            <ac:spMk id="2" creationId="{E68639B9-77A1-4188-9120-BBBC0852D100}"/>
          </ac:spMkLst>
        </pc:spChg>
        <pc:spChg chg="del">
          <ac:chgData name="christophe CHUECOS-FONT" userId="7e57acaa-4bc6-4644-8edc-0ecdded28594" providerId="ADAL" clId="{67DE474F-9E2C-4F68-B79B-1B1AA065A498}" dt="2021-04-01T22:00:46.324" v="1660" actId="26606"/>
          <ac:spMkLst>
            <pc:docMk/>
            <pc:sldMk cId="1251446674" sldId="950"/>
            <ac:spMk id="9" creationId="{B775CD93-9DF2-48CB-9F57-1BCA9A46C7FA}"/>
          </ac:spMkLst>
        </pc:spChg>
        <pc:spChg chg="del">
          <ac:chgData name="christophe CHUECOS-FONT" userId="7e57acaa-4bc6-4644-8edc-0ecdded28594" providerId="ADAL" clId="{67DE474F-9E2C-4F68-B79B-1B1AA065A498}" dt="2021-04-01T22:00:46.324" v="1660" actId="26606"/>
          <ac:spMkLst>
            <pc:docMk/>
            <pc:sldMk cId="1251446674" sldId="950"/>
            <ac:spMk id="11" creationId="{6166C6D1-23AC-49C4-BA07-238E4E9F8CEB}"/>
          </ac:spMkLst>
        </pc:spChg>
        <pc:spChg chg="del">
          <ac:chgData name="christophe CHUECOS-FONT" userId="7e57acaa-4bc6-4644-8edc-0ecdded28594" providerId="ADAL" clId="{67DE474F-9E2C-4F68-B79B-1B1AA065A498}" dt="2021-04-01T22:00:46.324" v="1660" actId="26606"/>
          <ac:spMkLst>
            <pc:docMk/>
            <pc:sldMk cId="1251446674" sldId="950"/>
            <ac:spMk id="13" creationId="{E186B68C-84BC-4A6E-99D1-EE87483C1349}"/>
          </ac:spMkLst>
        </pc:spChg>
        <pc:spChg chg="del">
          <ac:chgData name="christophe CHUECOS-FONT" userId="7e57acaa-4bc6-4644-8edc-0ecdded28594" providerId="ADAL" clId="{67DE474F-9E2C-4F68-B79B-1B1AA065A498}" dt="2021-04-01T22:00:46.324" v="1660" actId="26606"/>
          <ac:spMkLst>
            <pc:docMk/>
            <pc:sldMk cId="1251446674" sldId="950"/>
            <ac:spMk id="15" creationId="{1C091803-41C2-48E0-9228-5148460C7479}"/>
          </ac:spMkLst>
        </pc:spChg>
        <pc:spChg chg="add">
          <ac:chgData name="christophe CHUECOS-FONT" userId="7e57acaa-4bc6-4644-8edc-0ecdded28594" providerId="ADAL" clId="{67DE474F-9E2C-4F68-B79B-1B1AA065A498}" dt="2021-04-01T22:00:46.324" v="1660" actId="26606"/>
          <ac:spMkLst>
            <pc:docMk/>
            <pc:sldMk cId="1251446674" sldId="950"/>
            <ac:spMk id="20" creationId="{35DB3719-6FDC-4E5D-891D-FF40B7300F64}"/>
          </ac:spMkLst>
        </pc:spChg>
        <pc:spChg chg="add">
          <ac:chgData name="christophe CHUECOS-FONT" userId="7e57acaa-4bc6-4644-8edc-0ecdded28594" providerId="ADAL" clId="{67DE474F-9E2C-4F68-B79B-1B1AA065A498}" dt="2021-04-01T22:00:46.324" v="1660" actId="26606"/>
          <ac:spMkLst>
            <pc:docMk/>
            <pc:sldMk cId="1251446674" sldId="950"/>
            <ac:spMk id="22" creationId="{E0CBAC23-2E3F-4A90-BA59-F8299F6A5439}"/>
          </ac:spMkLst>
        </pc:spChg>
        <pc:graphicFrameChg chg="mod modGraphic">
          <ac:chgData name="christophe CHUECOS-FONT" userId="7e57acaa-4bc6-4644-8edc-0ecdded28594" providerId="ADAL" clId="{67DE474F-9E2C-4F68-B79B-1B1AA065A498}" dt="2021-04-01T22:00:46.324" v="1660" actId="26606"/>
          <ac:graphicFrameMkLst>
            <pc:docMk/>
            <pc:sldMk cId="1251446674" sldId="950"/>
            <ac:graphicFrameMk id="5" creationId="{378E892E-3B3E-4743-AFE3-FFD5DEEECD15}"/>
          </ac:graphicFrameMkLst>
        </pc:graphicFrameChg>
      </pc:sldChg>
      <pc:sldChg chg="add del ord">
        <pc:chgData name="christophe CHUECOS-FONT" userId="7e57acaa-4bc6-4644-8edc-0ecdded28594" providerId="ADAL" clId="{67DE474F-9E2C-4F68-B79B-1B1AA065A498}" dt="2021-04-01T22:04:31.301" v="1797" actId="47"/>
        <pc:sldMkLst>
          <pc:docMk/>
          <pc:sldMk cId="1781056938" sldId="951"/>
        </pc:sldMkLst>
      </pc:sldChg>
      <pc:sldChg chg="addSp delSp modSp add mod">
        <pc:chgData name="christophe CHUECOS-FONT" userId="7e57acaa-4bc6-4644-8edc-0ecdded28594" providerId="ADAL" clId="{67DE474F-9E2C-4F68-B79B-1B1AA065A498}" dt="2021-04-01T22:03:55.759" v="1792" actId="255"/>
        <pc:sldMkLst>
          <pc:docMk/>
          <pc:sldMk cId="3226514533" sldId="952"/>
        </pc:sldMkLst>
        <pc:spChg chg="mod">
          <ac:chgData name="christophe CHUECOS-FONT" userId="7e57acaa-4bc6-4644-8edc-0ecdded28594" providerId="ADAL" clId="{67DE474F-9E2C-4F68-B79B-1B1AA065A498}" dt="2021-04-01T22:03:47.478" v="1791" actId="26606"/>
          <ac:spMkLst>
            <pc:docMk/>
            <pc:sldMk cId="3226514533" sldId="952"/>
            <ac:spMk id="2" creationId="{AB4BD8A2-5C77-4F6B-ACB6-AB917A0C0D72}"/>
          </ac:spMkLst>
        </pc:spChg>
        <pc:spChg chg="mod">
          <ac:chgData name="christophe CHUECOS-FONT" userId="7e57acaa-4bc6-4644-8edc-0ecdded28594" providerId="ADAL" clId="{67DE474F-9E2C-4F68-B79B-1B1AA065A498}" dt="2021-04-01T22:03:55.759" v="1792" actId="255"/>
          <ac:spMkLst>
            <pc:docMk/>
            <pc:sldMk cId="3226514533" sldId="952"/>
            <ac:spMk id="3" creationId="{667BC496-97F0-4F08-B182-396A614F80AF}"/>
          </ac:spMkLst>
        </pc:spChg>
        <pc:spChg chg="del">
          <ac:chgData name="christophe CHUECOS-FONT" userId="7e57acaa-4bc6-4644-8edc-0ecdded28594" providerId="ADAL" clId="{67DE474F-9E2C-4F68-B79B-1B1AA065A498}" dt="2021-04-01T22:03:47.478" v="1791" actId="26606"/>
          <ac:spMkLst>
            <pc:docMk/>
            <pc:sldMk cId="3226514533" sldId="952"/>
            <ac:spMk id="10" creationId="{944E28A0-F8F2-4190-AC08-73EF5A051BD4}"/>
          </ac:spMkLst>
        </pc:spChg>
        <pc:spChg chg="add">
          <ac:chgData name="christophe CHUECOS-FONT" userId="7e57acaa-4bc6-4644-8edc-0ecdded28594" providerId="ADAL" clId="{67DE474F-9E2C-4F68-B79B-1B1AA065A498}" dt="2021-04-01T22:03:47.478" v="1791" actId="26606"/>
          <ac:spMkLst>
            <pc:docMk/>
            <pc:sldMk cId="3226514533" sldId="952"/>
            <ac:spMk id="15" creationId="{3E443FD7-A66B-4AA0-872D-B088B9BC5F17}"/>
          </ac:spMkLst>
        </pc:spChg>
        <pc:spChg chg="add">
          <ac:chgData name="christophe CHUECOS-FONT" userId="7e57acaa-4bc6-4644-8edc-0ecdded28594" providerId="ADAL" clId="{67DE474F-9E2C-4F68-B79B-1B1AA065A498}" dt="2021-04-01T22:03:47.478" v="1791" actId="26606"/>
          <ac:spMkLst>
            <pc:docMk/>
            <pc:sldMk cId="3226514533" sldId="952"/>
            <ac:spMk id="17" creationId="{C04BE0EF-3561-49B4-9A29-F283168A91C7}"/>
          </ac:spMkLst>
        </pc:spChg>
        <pc:picChg chg="mod">
          <ac:chgData name="christophe CHUECOS-FONT" userId="7e57acaa-4bc6-4644-8edc-0ecdded28594" providerId="ADAL" clId="{67DE474F-9E2C-4F68-B79B-1B1AA065A498}" dt="2021-04-01T22:03:47.478" v="1791" actId="26606"/>
          <ac:picMkLst>
            <pc:docMk/>
            <pc:sldMk cId="3226514533" sldId="952"/>
            <ac:picMk id="7" creationId="{E889F2CB-776F-4113-951A-136AF7AF2BD9}"/>
          </ac:picMkLst>
        </pc:picChg>
      </pc:sldChg>
      <pc:sldChg chg="addSp modSp new mod setBg">
        <pc:chgData name="christophe CHUECOS-FONT" userId="7e57acaa-4bc6-4644-8edc-0ecdded28594" providerId="ADAL" clId="{67DE474F-9E2C-4F68-B79B-1B1AA065A498}" dt="2021-04-01T22:12:04.379" v="1911" actId="6549"/>
        <pc:sldMkLst>
          <pc:docMk/>
          <pc:sldMk cId="1557249580" sldId="953"/>
        </pc:sldMkLst>
        <pc:spChg chg="mod">
          <ac:chgData name="christophe CHUECOS-FONT" userId="7e57acaa-4bc6-4644-8edc-0ecdded28594" providerId="ADAL" clId="{67DE474F-9E2C-4F68-B79B-1B1AA065A498}" dt="2021-04-01T22:11:40.859" v="1899" actId="26606"/>
          <ac:spMkLst>
            <pc:docMk/>
            <pc:sldMk cId="1557249580" sldId="953"/>
            <ac:spMk id="2" creationId="{155D0AB6-2E9F-40DC-AE5E-95029B2B410C}"/>
          </ac:spMkLst>
        </pc:spChg>
        <pc:spChg chg="mod">
          <ac:chgData name="christophe CHUECOS-FONT" userId="7e57acaa-4bc6-4644-8edc-0ecdded28594" providerId="ADAL" clId="{67DE474F-9E2C-4F68-B79B-1B1AA065A498}" dt="2021-04-01T22:12:04.379" v="1911" actId="6549"/>
          <ac:spMkLst>
            <pc:docMk/>
            <pc:sldMk cId="1557249580" sldId="953"/>
            <ac:spMk id="3" creationId="{2C446EB7-E210-43B1-9FEF-9EBC83FC52C4}"/>
          </ac:spMkLst>
        </pc:spChg>
        <pc:spChg chg="add">
          <ac:chgData name="christophe CHUECOS-FONT" userId="7e57acaa-4bc6-4644-8edc-0ecdded28594" providerId="ADAL" clId="{67DE474F-9E2C-4F68-B79B-1B1AA065A498}" dt="2021-04-01T22:11:40.859" v="1899" actId="26606"/>
          <ac:spMkLst>
            <pc:docMk/>
            <pc:sldMk cId="1557249580" sldId="953"/>
            <ac:spMk id="8" creationId="{AC17DE74-01C9-4859-B65A-85CF999E8580}"/>
          </ac:spMkLst>
        </pc:spChg>
        <pc:spChg chg="add">
          <ac:chgData name="christophe CHUECOS-FONT" userId="7e57acaa-4bc6-4644-8edc-0ecdded28594" providerId="ADAL" clId="{67DE474F-9E2C-4F68-B79B-1B1AA065A498}" dt="2021-04-01T22:11:40.859" v="1899" actId="26606"/>
          <ac:spMkLst>
            <pc:docMk/>
            <pc:sldMk cId="1557249580" sldId="953"/>
            <ac:spMk id="10" creationId="{068C0432-0E90-4CC1-8CD3-D44A90DF07EF}"/>
          </ac:spMkLst>
        </pc:spChg>
      </pc:sldChg>
      <pc:sldChg chg="addSp delSp modSp add mod setBg setClrOvrMap">
        <pc:chgData name="christophe CHUECOS-FONT" userId="7e57acaa-4bc6-4644-8edc-0ecdded28594" providerId="ADAL" clId="{67DE474F-9E2C-4F68-B79B-1B1AA065A498}" dt="2021-04-02T06:17:44.043" v="2167" actId="26606"/>
        <pc:sldMkLst>
          <pc:docMk/>
          <pc:sldMk cId="4134792754" sldId="954"/>
        </pc:sldMkLst>
        <pc:spChg chg="mod">
          <ac:chgData name="christophe CHUECOS-FONT" userId="7e57acaa-4bc6-4644-8edc-0ecdded28594" providerId="ADAL" clId="{67DE474F-9E2C-4F68-B79B-1B1AA065A498}" dt="2021-04-02T06:17:44.043" v="2167" actId="26606"/>
          <ac:spMkLst>
            <pc:docMk/>
            <pc:sldMk cId="4134792754" sldId="954"/>
            <ac:spMk id="2" creationId="{41644713-AF21-4543-94FE-A96FEBAA2B11}"/>
          </ac:spMkLst>
        </pc:spChg>
        <pc:spChg chg="del mod">
          <ac:chgData name="christophe CHUECOS-FONT" userId="7e57acaa-4bc6-4644-8edc-0ecdded28594" providerId="ADAL" clId="{67DE474F-9E2C-4F68-B79B-1B1AA065A498}" dt="2021-04-02T06:17:44.043" v="2167" actId="26606"/>
          <ac:spMkLst>
            <pc:docMk/>
            <pc:sldMk cId="4134792754" sldId="954"/>
            <ac:spMk id="3" creationId="{6E6AB3AA-03B3-4E7A-94A3-3EB3E0E9D005}"/>
          </ac:spMkLst>
        </pc:spChg>
        <pc:spChg chg="del">
          <ac:chgData name="christophe CHUECOS-FONT" userId="7e57acaa-4bc6-4644-8edc-0ecdded28594" providerId="ADAL" clId="{67DE474F-9E2C-4F68-B79B-1B1AA065A498}" dt="2021-04-02T06:17:44.043" v="2167" actId="26606"/>
          <ac:spMkLst>
            <pc:docMk/>
            <pc:sldMk cId="4134792754" sldId="954"/>
            <ac:spMk id="8" creationId="{1ACA2EA0-FFD3-42EC-9406-B595015ED96E}"/>
          </ac:spMkLst>
        </pc:spChg>
        <pc:spChg chg="del">
          <ac:chgData name="christophe CHUECOS-FONT" userId="7e57acaa-4bc6-4644-8edc-0ecdded28594" providerId="ADAL" clId="{67DE474F-9E2C-4F68-B79B-1B1AA065A498}" dt="2021-04-02T06:17:44.043" v="2167" actId="26606"/>
          <ac:spMkLst>
            <pc:docMk/>
            <pc:sldMk cId="4134792754" sldId="954"/>
            <ac:spMk id="10" creationId="{D5288BCE-665C-472A-8C43-664BCFA31E43}"/>
          </ac:spMkLst>
        </pc:spChg>
        <pc:spChg chg="del">
          <ac:chgData name="christophe CHUECOS-FONT" userId="7e57acaa-4bc6-4644-8edc-0ecdded28594" providerId="ADAL" clId="{67DE474F-9E2C-4F68-B79B-1B1AA065A498}" dt="2021-04-02T06:17:44.043" v="2167" actId="26606"/>
          <ac:spMkLst>
            <pc:docMk/>
            <pc:sldMk cId="4134792754" sldId="954"/>
            <ac:spMk id="12" creationId="{46C57131-53A7-4C1A-BEA8-25F06A06AD29}"/>
          </ac:spMkLst>
        </pc:spChg>
        <pc:spChg chg="add">
          <ac:chgData name="christophe CHUECOS-FONT" userId="7e57acaa-4bc6-4644-8edc-0ecdded28594" providerId="ADAL" clId="{67DE474F-9E2C-4F68-B79B-1B1AA065A498}" dt="2021-04-02T06:17:44.043" v="2167" actId="26606"/>
          <ac:spMkLst>
            <pc:docMk/>
            <pc:sldMk cId="4134792754" sldId="954"/>
            <ac:spMk id="18" creationId="{71B2258F-86CA-4D4D-8270-BC05FCDEBFB3}"/>
          </ac:spMkLst>
        </pc:spChg>
        <pc:picChg chg="add">
          <ac:chgData name="christophe CHUECOS-FONT" userId="7e57acaa-4bc6-4644-8edc-0ecdded28594" providerId="ADAL" clId="{67DE474F-9E2C-4F68-B79B-1B1AA065A498}" dt="2021-04-02T06:17:44.043" v="2167" actId="26606"/>
          <ac:picMkLst>
            <pc:docMk/>
            <pc:sldMk cId="4134792754" sldId="954"/>
            <ac:picMk id="14" creationId="{A9628A4C-9EB8-435C-93AE-2A98D3C90F96}"/>
          </ac:picMkLst>
        </pc:picChg>
      </pc:sldChg>
      <pc:sldChg chg="addSp delSp modSp add mod">
        <pc:chgData name="christophe CHUECOS-FONT" userId="7e57acaa-4bc6-4644-8edc-0ecdded28594" providerId="ADAL" clId="{67DE474F-9E2C-4F68-B79B-1B1AA065A498}" dt="2021-04-01T22:09:35.062" v="1854" actId="6549"/>
        <pc:sldMkLst>
          <pc:docMk/>
          <pc:sldMk cId="145373554" sldId="955"/>
        </pc:sldMkLst>
        <pc:spChg chg="mod">
          <ac:chgData name="christophe CHUECOS-FONT" userId="7e57acaa-4bc6-4644-8edc-0ecdded28594" providerId="ADAL" clId="{67DE474F-9E2C-4F68-B79B-1B1AA065A498}" dt="2021-04-01T22:08:12.377" v="1835" actId="1076"/>
          <ac:spMkLst>
            <pc:docMk/>
            <pc:sldMk cId="145373554" sldId="955"/>
            <ac:spMk id="2" creationId="{41644713-AF21-4543-94FE-A96FEBAA2B11}"/>
          </ac:spMkLst>
        </pc:spChg>
        <pc:spChg chg="del">
          <ac:chgData name="christophe CHUECOS-FONT" userId="7e57acaa-4bc6-4644-8edc-0ecdded28594" providerId="ADAL" clId="{67DE474F-9E2C-4F68-B79B-1B1AA065A498}" dt="2021-04-01T22:06:48.018" v="1826" actId="21"/>
          <ac:spMkLst>
            <pc:docMk/>
            <pc:sldMk cId="145373554" sldId="955"/>
            <ac:spMk id="3" creationId="{6E6AB3AA-03B3-4E7A-94A3-3EB3E0E9D005}"/>
          </ac:spMkLst>
        </pc:spChg>
        <pc:spChg chg="add del mod">
          <ac:chgData name="christophe CHUECOS-FONT" userId="7e57acaa-4bc6-4644-8edc-0ecdded28594" providerId="ADAL" clId="{67DE474F-9E2C-4F68-B79B-1B1AA065A498}" dt="2021-04-01T22:07:03.214" v="1827" actId="21"/>
          <ac:spMkLst>
            <pc:docMk/>
            <pc:sldMk cId="145373554" sldId="955"/>
            <ac:spMk id="6" creationId="{5BEDEEC2-628A-4238-B274-D5D515C9FE99}"/>
          </ac:spMkLst>
        </pc:spChg>
        <pc:graphicFrameChg chg="add mod modGraphic">
          <ac:chgData name="christophe CHUECOS-FONT" userId="7e57acaa-4bc6-4644-8edc-0ecdded28594" providerId="ADAL" clId="{67DE474F-9E2C-4F68-B79B-1B1AA065A498}" dt="2021-04-01T22:09:35.062" v="1854" actId="6549"/>
          <ac:graphicFrameMkLst>
            <pc:docMk/>
            <pc:sldMk cId="145373554" sldId="955"/>
            <ac:graphicFrameMk id="4" creationId="{DED4966F-E2DC-47D2-8406-77E6764A6DB7}"/>
          </ac:graphicFrameMkLst>
        </pc:graphicFrameChg>
      </pc:sldChg>
      <pc:sldChg chg="modSp add mod">
        <pc:chgData name="christophe CHUECOS-FONT" userId="7e57acaa-4bc6-4644-8edc-0ecdded28594" providerId="ADAL" clId="{67DE474F-9E2C-4F68-B79B-1B1AA065A498}" dt="2021-04-01T22:12:58.777" v="1914" actId="255"/>
        <pc:sldMkLst>
          <pc:docMk/>
          <pc:sldMk cId="3953886819" sldId="956"/>
        </pc:sldMkLst>
        <pc:spChg chg="mod">
          <ac:chgData name="christophe CHUECOS-FONT" userId="7e57acaa-4bc6-4644-8edc-0ecdded28594" providerId="ADAL" clId="{67DE474F-9E2C-4F68-B79B-1B1AA065A498}" dt="2021-04-01T22:12:58.777" v="1914" actId="255"/>
          <ac:spMkLst>
            <pc:docMk/>
            <pc:sldMk cId="3953886819" sldId="956"/>
            <ac:spMk id="3" creationId="{2C446EB7-E210-43B1-9FEF-9EBC83FC52C4}"/>
          </ac:spMkLst>
        </pc:spChg>
      </pc:sldChg>
      <pc:sldChg chg="modSp add mod ord">
        <pc:chgData name="christophe CHUECOS-FONT" userId="7e57acaa-4bc6-4644-8edc-0ecdded28594" providerId="ADAL" clId="{67DE474F-9E2C-4F68-B79B-1B1AA065A498}" dt="2021-04-02T06:12:09.613" v="2048" actId="20577"/>
        <pc:sldMkLst>
          <pc:docMk/>
          <pc:sldMk cId="1604631660" sldId="957"/>
        </pc:sldMkLst>
        <pc:spChg chg="mod">
          <ac:chgData name="christophe CHUECOS-FONT" userId="7e57acaa-4bc6-4644-8edc-0ecdded28594" providerId="ADAL" clId="{67DE474F-9E2C-4F68-B79B-1B1AA065A498}" dt="2021-04-02T06:10:07.194" v="1930" actId="6549"/>
          <ac:spMkLst>
            <pc:docMk/>
            <pc:sldMk cId="1604631660" sldId="957"/>
            <ac:spMk id="2" creationId="{41644713-AF21-4543-94FE-A96FEBAA2B11}"/>
          </ac:spMkLst>
        </pc:spChg>
        <pc:spChg chg="mod">
          <ac:chgData name="christophe CHUECOS-FONT" userId="7e57acaa-4bc6-4644-8edc-0ecdded28594" providerId="ADAL" clId="{67DE474F-9E2C-4F68-B79B-1B1AA065A498}" dt="2021-04-02T06:12:09.613" v="2048" actId="20577"/>
          <ac:spMkLst>
            <pc:docMk/>
            <pc:sldMk cId="1604631660" sldId="957"/>
            <ac:spMk id="3" creationId="{6E6AB3AA-03B3-4E7A-94A3-3EB3E0E9D005}"/>
          </ac:spMkLst>
        </pc:spChg>
      </pc:sldChg>
      <pc:sldChg chg="modSp add mod ord">
        <pc:chgData name="christophe CHUECOS-FONT" userId="7e57acaa-4bc6-4644-8edc-0ecdded28594" providerId="ADAL" clId="{67DE474F-9E2C-4F68-B79B-1B1AA065A498}" dt="2021-04-02T06:13:43.998" v="2105" actId="20577"/>
        <pc:sldMkLst>
          <pc:docMk/>
          <pc:sldMk cId="2629396649" sldId="958"/>
        </pc:sldMkLst>
        <pc:spChg chg="mod">
          <ac:chgData name="christophe CHUECOS-FONT" userId="7e57acaa-4bc6-4644-8edc-0ecdded28594" providerId="ADAL" clId="{67DE474F-9E2C-4F68-B79B-1B1AA065A498}" dt="2021-04-02T06:10:31.860" v="1937" actId="20577"/>
          <ac:spMkLst>
            <pc:docMk/>
            <pc:sldMk cId="2629396649" sldId="958"/>
            <ac:spMk id="2" creationId="{41644713-AF21-4543-94FE-A96FEBAA2B11}"/>
          </ac:spMkLst>
        </pc:spChg>
        <pc:graphicFrameChg chg="modGraphic">
          <ac:chgData name="christophe CHUECOS-FONT" userId="7e57acaa-4bc6-4644-8edc-0ecdded28594" providerId="ADAL" clId="{67DE474F-9E2C-4F68-B79B-1B1AA065A498}" dt="2021-04-02T06:13:43.998" v="2105" actId="20577"/>
          <ac:graphicFrameMkLst>
            <pc:docMk/>
            <pc:sldMk cId="2629396649" sldId="958"/>
            <ac:graphicFrameMk id="4" creationId="{DED4966F-E2DC-47D2-8406-77E6764A6DB7}"/>
          </ac:graphicFrameMkLst>
        </pc:graphicFrameChg>
      </pc:sldChg>
      <pc:sldChg chg="addSp delSp modSp new mod setBg">
        <pc:chgData name="christophe CHUECOS-FONT" userId="7e57acaa-4bc6-4644-8edc-0ecdded28594" providerId="ADAL" clId="{67DE474F-9E2C-4F68-B79B-1B1AA065A498}" dt="2021-04-02T06:17:59.959" v="2168" actId="26606"/>
        <pc:sldMkLst>
          <pc:docMk/>
          <pc:sldMk cId="745885902" sldId="959"/>
        </pc:sldMkLst>
        <pc:spChg chg="mod">
          <ac:chgData name="christophe CHUECOS-FONT" userId="7e57acaa-4bc6-4644-8edc-0ecdded28594" providerId="ADAL" clId="{67DE474F-9E2C-4F68-B79B-1B1AA065A498}" dt="2021-04-02T06:17:59.959" v="2168" actId="26606"/>
          <ac:spMkLst>
            <pc:docMk/>
            <pc:sldMk cId="745885902" sldId="959"/>
            <ac:spMk id="2" creationId="{0242D5F6-0AFB-44FC-8526-BA5666B83E25}"/>
          </ac:spMkLst>
        </pc:spChg>
        <pc:spChg chg="del">
          <ac:chgData name="christophe CHUECOS-FONT" userId="7e57acaa-4bc6-4644-8edc-0ecdded28594" providerId="ADAL" clId="{67DE474F-9E2C-4F68-B79B-1B1AA065A498}" dt="2021-04-02T06:15:54.144" v="2119"/>
          <ac:spMkLst>
            <pc:docMk/>
            <pc:sldMk cId="745885902" sldId="959"/>
            <ac:spMk id="3" creationId="{975EFAA7-0F1B-425B-9E27-00940D78FE00}"/>
          </ac:spMkLst>
        </pc:spChg>
        <pc:spChg chg="add del mod">
          <ac:chgData name="christophe CHUECOS-FONT" userId="7e57acaa-4bc6-4644-8edc-0ecdded28594" providerId="ADAL" clId="{67DE474F-9E2C-4F68-B79B-1B1AA065A498}" dt="2021-04-02T06:17:36.385" v="2166"/>
          <ac:spMkLst>
            <pc:docMk/>
            <pc:sldMk cId="745885902" sldId="959"/>
            <ac:spMk id="5" creationId="{CB087F66-A9FF-4E29-9125-3A2DFA1F9755}"/>
          </ac:spMkLst>
        </pc:spChg>
        <pc:spChg chg="add del">
          <ac:chgData name="christophe CHUECOS-FONT" userId="7e57acaa-4bc6-4644-8edc-0ecdded28594" providerId="ADAL" clId="{67DE474F-9E2C-4F68-B79B-1B1AA065A498}" dt="2021-04-02T06:17:03.017" v="2158"/>
          <ac:spMkLst>
            <pc:docMk/>
            <pc:sldMk cId="745885902" sldId="959"/>
            <ac:spMk id="6" creationId="{B95E7C71-B8B7-45A5-9C75-80A5AD81821F}"/>
          </ac:spMkLst>
        </pc:spChg>
        <pc:spChg chg="add del">
          <ac:chgData name="christophe CHUECOS-FONT" userId="7e57acaa-4bc6-4644-8edc-0ecdded28594" providerId="ADAL" clId="{67DE474F-9E2C-4F68-B79B-1B1AA065A498}" dt="2021-04-02T06:17:08.322" v="2160"/>
          <ac:spMkLst>
            <pc:docMk/>
            <pc:sldMk cId="745885902" sldId="959"/>
            <ac:spMk id="7" creationId="{D5C458E0-B1AD-4F05-8855-2132FD6BA007}"/>
          </ac:spMkLst>
        </pc:spChg>
        <pc:spChg chg="add del">
          <ac:chgData name="christophe CHUECOS-FONT" userId="7e57acaa-4bc6-4644-8edc-0ecdded28594" providerId="ADAL" clId="{67DE474F-9E2C-4F68-B79B-1B1AA065A498}" dt="2021-04-02T06:17:17.430" v="2162"/>
          <ac:spMkLst>
            <pc:docMk/>
            <pc:sldMk cId="745885902" sldId="959"/>
            <ac:spMk id="8" creationId="{B355835A-7A23-49B4-8617-087C1E079F4D}"/>
          </ac:spMkLst>
        </pc:spChg>
        <pc:spChg chg="add">
          <ac:chgData name="christophe CHUECOS-FONT" userId="7e57acaa-4bc6-4644-8edc-0ecdded28594" providerId="ADAL" clId="{67DE474F-9E2C-4F68-B79B-1B1AA065A498}" dt="2021-04-02T06:17:59.959" v="2168" actId="26606"/>
          <ac:spMkLst>
            <pc:docMk/>
            <pc:sldMk cId="745885902" sldId="959"/>
            <ac:spMk id="9" creationId="{122F9423-F4B1-45D4-8445-E9991ECCBCCF}"/>
          </ac:spMkLst>
        </pc:spChg>
        <pc:grpChg chg="add">
          <ac:chgData name="christophe CHUECOS-FONT" userId="7e57acaa-4bc6-4644-8edc-0ecdded28594" providerId="ADAL" clId="{67DE474F-9E2C-4F68-B79B-1B1AA065A498}" dt="2021-04-02T06:17:59.959" v="2168" actId="26606"/>
          <ac:grpSpMkLst>
            <pc:docMk/>
            <pc:sldMk cId="745885902" sldId="959"/>
            <ac:grpSpMk id="11" creationId="{770AE191-D2EA-45C9-A44D-830C188F74CB}"/>
          </ac:grpSpMkLst>
        </pc:grpChg>
        <pc:graphicFrameChg chg="add mod modGraphic">
          <ac:chgData name="christophe CHUECOS-FONT" userId="7e57acaa-4bc6-4644-8edc-0ecdded28594" providerId="ADAL" clId="{67DE474F-9E2C-4F68-B79B-1B1AA065A498}" dt="2021-04-02T06:17:59.959" v="2168" actId="26606"/>
          <ac:graphicFrameMkLst>
            <pc:docMk/>
            <pc:sldMk cId="745885902" sldId="959"/>
            <ac:graphicFrameMk id="4" creationId="{8308088B-60F7-43B0-9D2A-CA94DA02228C}"/>
          </ac:graphicFrameMkLst>
        </pc:graphicFrameChg>
      </pc:sldChg>
      <pc:sldChg chg="addSp delSp modSp add mod">
        <pc:chgData name="christophe CHUECOS-FONT" userId="7e57acaa-4bc6-4644-8edc-0ecdded28594" providerId="ADAL" clId="{67DE474F-9E2C-4F68-B79B-1B1AA065A498}" dt="2021-04-02T13:58:28.260" v="2241" actId="26606"/>
        <pc:sldMkLst>
          <pc:docMk/>
          <pc:sldMk cId="1431546980" sldId="960"/>
        </pc:sldMkLst>
        <pc:spChg chg="mod">
          <ac:chgData name="christophe CHUECOS-FONT" userId="7e57acaa-4bc6-4644-8edc-0ecdded28594" providerId="ADAL" clId="{67DE474F-9E2C-4F68-B79B-1B1AA065A498}" dt="2021-04-02T13:58:28.260" v="2241" actId="26606"/>
          <ac:spMkLst>
            <pc:docMk/>
            <pc:sldMk cId="1431546980" sldId="960"/>
            <ac:spMk id="2" creationId="{0242D5F6-0AFB-44FC-8526-BA5666B83E25}"/>
          </ac:spMkLst>
        </pc:spChg>
        <pc:spChg chg="add del mod">
          <ac:chgData name="christophe CHUECOS-FONT" userId="7e57acaa-4bc6-4644-8edc-0ecdded28594" providerId="ADAL" clId="{67DE474F-9E2C-4F68-B79B-1B1AA065A498}" dt="2021-04-02T13:57:16.378" v="2171"/>
          <ac:spMkLst>
            <pc:docMk/>
            <pc:sldMk cId="1431546980" sldId="960"/>
            <ac:spMk id="5" creationId="{A30703B4-A282-4391-B0A1-C0F9118AACBE}"/>
          </ac:spMkLst>
        </pc:spChg>
        <pc:spChg chg="del">
          <ac:chgData name="christophe CHUECOS-FONT" userId="7e57acaa-4bc6-4644-8edc-0ecdded28594" providerId="ADAL" clId="{67DE474F-9E2C-4F68-B79B-1B1AA065A498}" dt="2021-04-02T13:58:28.260" v="2241" actId="26606"/>
          <ac:spMkLst>
            <pc:docMk/>
            <pc:sldMk cId="1431546980" sldId="960"/>
            <ac:spMk id="9" creationId="{122F9423-F4B1-45D4-8445-E9991ECCBCCF}"/>
          </ac:spMkLst>
        </pc:spChg>
        <pc:spChg chg="add">
          <ac:chgData name="christophe CHUECOS-FONT" userId="7e57acaa-4bc6-4644-8edc-0ecdded28594" providerId="ADAL" clId="{67DE474F-9E2C-4F68-B79B-1B1AA065A498}" dt="2021-04-02T13:58:28.260" v="2241" actId="26606"/>
          <ac:spMkLst>
            <pc:docMk/>
            <pc:sldMk cId="1431546980" sldId="960"/>
            <ac:spMk id="18" creationId="{6166C6D1-23AC-49C4-BA07-238E4E9F8CEB}"/>
          </ac:spMkLst>
        </pc:spChg>
        <pc:spChg chg="add">
          <ac:chgData name="christophe CHUECOS-FONT" userId="7e57acaa-4bc6-4644-8edc-0ecdded28594" providerId="ADAL" clId="{67DE474F-9E2C-4F68-B79B-1B1AA065A498}" dt="2021-04-02T13:58:28.260" v="2241" actId="26606"/>
          <ac:spMkLst>
            <pc:docMk/>
            <pc:sldMk cId="1431546980" sldId="960"/>
            <ac:spMk id="20" creationId="{B775CD93-9DF2-48CB-9F57-1BCA9A46C7FA}"/>
          </ac:spMkLst>
        </pc:spChg>
        <pc:spChg chg="add">
          <ac:chgData name="christophe CHUECOS-FONT" userId="7e57acaa-4bc6-4644-8edc-0ecdded28594" providerId="ADAL" clId="{67DE474F-9E2C-4F68-B79B-1B1AA065A498}" dt="2021-04-02T13:58:28.260" v="2241" actId="26606"/>
          <ac:spMkLst>
            <pc:docMk/>
            <pc:sldMk cId="1431546980" sldId="960"/>
            <ac:spMk id="22" creationId="{E186B68C-84BC-4A6E-99D1-EE87483C1349}"/>
          </ac:spMkLst>
        </pc:spChg>
        <pc:spChg chg="add">
          <ac:chgData name="christophe CHUECOS-FONT" userId="7e57acaa-4bc6-4644-8edc-0ecdded28594" providerId="ADAL" clId="{67DE474F-9E2C-4F68-B79B-1B1AA065A498}" dt="2021-04-02T13:58:28.260" v="2241" actId="26606"/>
          <ac:spMkLst>
            <pc:docMk/>
            <pc:sldMk cId="1431546980" sldId="960"/>
            <ac:spMk id="24" creationId="{1C091803-41C2-48E0-9228-5148460C7479}"/>
          </ac:spMkLst>
        </pc:spChg>
        <pc:grpChg chg="del">
          <ac:chgData name="christophe CHUECOS-FONT" userId="7e57acaa-4bc6-4644-8edc-0ecdded28594" providerId="ADAL" clId="{67DE474F-9E2C-4F68-B79B-1B1AA065A498}" dt="2021-04-02T13:58:28.260" v="2241" actId="26606"/>
          <ac:grpSpMkLst>
            <pc:docMk/>
            <pc:sldMk cId="1431546980" sldId="960"/>
            <ac:grpSpMk id="11" creationId="{770AE191-D2EA-45C9-A44D-830C188F74CB}"/>
          </ac:grpSpMkLst>
        </pc:grpChg>
        <pc:graphicFrameChg chg="del">
          <ac:chgData name="christophe CHUECOS-FONT" userId="7e57acaa-4bc6-4644-8edc-0ecdded28594" providerId="ADAL" clId="{67DE474F-9E2C-4F68-B79B-1B1AA065A498}" dt="2021-04-02T13:57:03.131" v="2170" actId="21"/>
          <ac:graphicFrameMkLst>
            <pc:docMk/>
            <pc:sldMk cId="1431546980" sldId="960"/>
            <ac:graphicFrameMk id="4" creationId="{8308088B-60F7-43B0-9D2A-CA94DA02228C}"/>
          </ac:graphicFrameMkLst>
        </pc:graphicFrameChg>
        <pc:graphicFrameChg chg="add mod modGraphic">
          <ac:chgData name="christophe CHUECOS-FONT" userId="7e57acaa-4bc6-4644-8edc-0ecdded28594" providerId="ADAL" clId="{67DE474F-9E2C-4F68-B79B-1B1AA065A498}" dt="2021-04-02T13:58:28.260" v="2241" actId="26606"/>
          <ac:graphicFrameMkLst>
            <pc:docMk/>
            <pc:sldMk cId="1431546980" sldId="960"/>
            <ac:graphicFrameMk id="6" creationId="{3CACB960-77B0-4BE9-9BB2-4AB65CF80FE0}"/>
          </ac:graphicFrameMkLst>
        </pc:graphicFrameChg>
      </pc:sldChg>
      <pc:sldChg chg="addSp delSp modSp new mod setBg">
        <pc:chgData name="christophe CHUECOS-FONT" userId="7e57acaa-4bc6-4644-8edc-0ecdded28594" providerId="ADAL" clId="{67DE474F-9E2C-4F68-B79B-1B1AA065A498}" dt="2021-04-02T13:59:25.803" v="2274" actId="26606"/>
        <pc:sldMkLst>
          <pc:docMk/>
          <pc:sldMk cId="2870954091" sldId="961"/>
        </pc:sldMkLst>
        <pc:spChg chg="mod">
          <ac:chgData name="christophe CHUECOS-FONT" userId="7e57acaa-4bc6-4644-8edc-0ecdded28594" providerId="ADAL" clId="{67DE474F-9E2C-4F68-B79B-1B1AA065A498}" dt="2021-04-02T13:59:25.803" v="2274" actId="26606"/>
          <ac:spMkLst>
            <pc:docMk/>
            <pc:sldMk cId="2870954091" sldId="961"/>
            <ac:spMk id="2" creationId="{09870F72-8149-444B-B043-4676BF76B184}"/>
          </ac:spMkLst>
        </pc:spChg>
        <pc:spChg chg="del">
          <ac:chgData name="christophe CHUECOS-FONT" userId="7e57acaa-4bc6-4644-8edc-0ecdded28594" providerId="ADAL" clId="{67DE474F-9E2C-4F68-B79B-1B1AA065A498}" dt="2021-04-02T13:58:50.034" v="2243"/>
          <ac:spMkLst>
            <pc:docMk/>
            <pc:sldMk cId="2870954091" sldId="961"/>
            <ac:spMk id="3" creationId="{8C55D6F0-D045-4D03-87F0-416268E7F677}"/>
          </ac:spMkLst>
        </pc:spChg>
        <pc:spChg chg="add mod">
          <ac:chgData name="christophe CHUECOS-FONT" userId="7e57acaa-4bc6-4644-8edc-0ecdded28594" providerId="ADAL" clId="{67DE474F-9E2C-4F68-B79B-1B1AA065A498}" dt="2021-04-02T13:59:25.803" v="2274" actId="26606"/>
          <ac:spMkLst>
            <pc:docMk/>
            <pc:sldMk cId="2870954091" sldId="961"/>
            <ac:spMk id="4" creationId="{9C941D5F-41FA-425D-929C-99356FD83A12}"/>
          </ac:spMkLst>
        </pc:spChg>
        <pc:spChg chg="add">
          <ac:chgData name="christophe CHUECOS-FONT" userId="7e57acaa-4bc6-4644-8edc-0ecdded28594" providerId="ADAL" clId="{67DE474F-9E2C-4F68-B79B-1B1AA065A498}" dt="2021-04-02T13:59:25.803" v="2274" actId="26606"/>
          <ac:spMkLst>
            <pc:docMk/>
            <pc:sldMk cId="2870954091" sldId="961"/>
            <ac:spMk id="10" creationId="{2C61293E-6EBE-43EF-A52C-9BEBFD7679D4}"/>
          </ac:spMkLst>
        </pc:spChg>
        <pc:spChg chg="add">
          <ac:chgData name="christophe CHUECOS-FONT" userId="7e57acaa-4bc6-4644-8edc-0ecdded28594" providerId="ADAL" clId="{67DE474F-9E2C-4F68-B79B-1B1AA065A498}" dt="2021-04-02T13:59:25.803" v="2274" actId="26606"/>
          <ac:spMkLst>
            <pc:docMk/>
            <pc:sldMk cId="2870954091" sldId="961"/>
            <ac:spMk id="12" creationId="{21540236-BFD5-4A9D-8840-4703E7F76825}"/>
          </ac:spMkLst>
        </pc:spChg>
        <pc:picChg chg="add">
          <ac:chgData name="christophe CHUECOS-FONT" userId="7e57acaa-4bc6-4644-8edc-0ecdded28594" providerId="ADAL" clId="{67DE474F-9E2C-4F68-B79B-1B1AA065A498}" dt="2021-04-02T13:59:25.803" v="2274" actId="26606"/>
          <ac:picMkLst>
            <pc:docMk/>
            <pc:sldMk cId="2870954091" sldId="961"/>
            <ac:picMk id="6" creationId="{8301769A-1886-4032-BCC1-193CFF523D1D}"/>
          </ac:picMkLst>
        </pc:picChg>
      </pc:sldChg>
      <pc:sldChg chg="addSp modSp new mod setBg">
        <pc:chgData name="christophe CHUECOS-FONT" userId="7e57acaa-4bc6-4644-8edc-0ecdded28594" providerId="ADAL" clId="{67DE474F-9E2C-4F68-B79B-1B1AA065A498}" dt="2021-04-02T14:00:41.196" v="2317" actId="26606"/>
        <pc:sldMkLst>
          <pc:docMk/>
          <pc:sldMk cId="924349727" sldId="962"/>
        </pc:sldMkLst>
        <pc:spChg chg="mod">
          <ac:chgData name="christophe CHUECOS-FONT" userId="7e57acaa-4bc6-4644-8edc-0ecdded28594" providerId="ADAL" clId="{67DE474F-9E2C-4F68-B79B-1B1AA065A498}" dt="2021-04-02T14:00:41.196" v="2317" actId="26606"/>
          <ac:spMkLst>
            <pc:docMk/>
            <pc:sldMk cId="924349727" sldId="962"/>
            <ac:spMk id="2" creationId="{519B23E5-D825-4652-9964-7669849F40BD}"/>
          </ac:spMkLst>
        </pc:spChg>
        <pc:spChg chg="mod">
          <ac:chgData name="christophe CHUECOS-FONT" userId="7e57acaa-4bc6-4644-8edc-0ecdded28594" providerId="ADAL" clId="{67DE474F-9E2C-4F68-B79B-1B1AA065A498}" dt="2021-04-02T14:00:41.196" v="2317" actId="26606"/>
          <ac:spMkLst>
            <pc:docMk/>
            <pc:sldMk cId="924349727" sldId="962"/>
            <ac:spMk id="3" creationId="{4AFD4E8E-9F31-4476-A954-73266A937D75}"/>
          </ac:spMkLst>
        </pc:spChg>
        <pc:spChg chg="add">
          <ac:chgData name="christophe CHUECOS-FONT" userId="7e57acaa-4bc6-4644-8edc-0ecdded28594" providerId="ADAL" clId="{67DE474F-9E2C-4F68-B79B-1B1AA065A498}" dt="2021-04-02T14:00:41.196" v="2317" actId="26606"/>
          <ac:spMkLst>
            <pc:docMk/>
            <pc:sldMk cId="924349727" sldId="962"/>
            <ac:spMk id="8" creationId="{100EDD19-6802-4EC3-95CE-CFFAB042CFD6}"/>
          </ac:spMkLst>
        </pc:spChg>
        <pc:spChg chg="add">
          <ac:chgData name="christophe CHUECOS-FONT" userId="7e57acaa-4bc6-4644-8edc-0ecdded28594" providerId="ADAL" clId="{67DE474F-9E2C-4F68-B79B-1B1AA065A498}" dt="2021-04-02T14:00:41.196" v="2317" actId="26606"/>
          <ac:spMkLst>
            <pc:docMk/>
            <pc:sldMk cId="924349727" sldId="962"/>
            <ac:spMk id="10" creationId="{DB17E863-922E-4C26-BD64-E8FD41D28661}"/>
          </ac:spMkLst>
        </pc:spChg>
      </pc:sldChg>
      <pc:sldChg chg="addSp modSp add mod setBg">
        <pc:chgData name="christophe CHUECOS-FONT" userId="7e57acaa-4bc6-4644-8edc-0ecdded28594" providerId="ADAL" clId="{67DE474F-9E2C-4F68-B79B-1B1AA065A498}" dt="2021-04-02T14:00:48.624" v="2318" actId="26606"/>
        <pc:sldMkLst>
          <pc:docMk/>
          <pc:sldMk cId="3755857740" sldId="963"/>
        </pc:sldMkLst>
        <pc:spChg chg="mod">
          <ac:chgData name="christophe CHUECOS-FONT" userId="7e57acaa-4bc6-4644-8edc-0ecdded28594" providerId="ADAL" clId="{67DE474F-9E2C-4F68-B79B-1B1AA065A498}" dt="2021-04-02T14:00:48.624" v="2318" actId="26606"/>
          <ac:spMkLst>
            <pc:docMk/>
            <pc:sldMk cId="3755857740" sldId="963"/>
            <ac:spMk id="2" creationId="{519B23E5-D825-4652-9964-7669849F40BD}"/>
          </ac:spMkLst>
        </pc:spChg>
        <pc:spChg chg="mod">
          <ac:chgData name="christophe CHUECOS-FONT" userId="7e57acaa-4bc6-4644-8edc-0ecdded28594" providerId="ADAL" clId="{67DE474F-9E2C-4F68-B79B-1B1AA065A498}" dt="2021-04-02T14:00:48.624" v="2318" actId="26606"/>
          <ac:spMkLst>
            <pc:docMk/>
            <pc:sldMk cId="3755857740" sldId="963"/>
            <ac:spMk id="3" creationId="{4AFD4E8E-9F31-4476-A954-73266A937D75}"/>
          </ac:spMkLst>
        </pc:spChg>
        <pc:spChg chg="add">
          <ac:chgData name="christophe CHUECOS-FONT" userId="7e57acaa-4bc6-4644-8edc-0ecdded28594" providerId="ADAL" clId="{67DE474F-9E2C-4F68-B79B-1B1AA065A498}" dt="2021-04-02T14:00:48.624" v="2318" actId="26606"/>
          <ac:spMkLst>
            <pc:docMk/>
            <pc:sldMk cId="3755857740" sldId="963"/>
            <ac:spMk id="8" creationId="{1BB867FF-FC45-48F7-8104-F89BE54909F1}"/>
          </ac:spMkLst>
        </pc:spChg>
        <pc:spChg chg="add">
          <ac:chgData name="christophe CHUECOS-FONT" userId="7e57acaa-4bc6-4644-8edc-0ecdded28594" providerId="ADAL" clId="{67DE474F-9E2C-4F68-B79B-1B1AA065A498}" dt="2021-04-02T14:00:48.624" v="2318" actId="26606"/>
          <ac:spMkLst>
            <pc:docMk/>
            <pc:sldMk cId="3755857740" sldId="963"/>
            <ac:spMk id="10" creationId="{8BB56887-D0D5-4F0C-9E19-7247EB83C8B7}"/>
          </ac:spMkLst>
        </pc:spChg>
        <pc:spChg chg="add">
          <ac:chgData name="christophe CHUECOS-FONT" userId="7e57acaa-4bc6-4644-8edc-0ecdded28594" providerId="ADAL" clId="{67DE474F-9E2C-4F68-B79B-1B1AA065A498}" dt="2021-04-02T14:00:48.624" v="2318" actId="26606"/>
          <ac:spMkLst>
            <pc:docMk/>
            <pc:sldMk cId="3755857740" sldId="963"/>
            <ac:spMk id="12" creationId="{081E4A58-353D-44AE-B2FC-2A74E2E400F7}"/>
          </ac:spMkLst>
        </pc:spChg>
      </pc:sldChg>
      <pc:sldChg chg="modSp new mod">
        <pc:chgData name="christophe CHUECOS-FONT" userId="7e57acaa-4bc6-4644-8edc-0ecdded28594" providerId="ADAL" clId="{67DE474F-9E2C-4F68-B79B-1B1AA065A498}" dt="2021-04-02T14:02:06.609" v="2349" actId="20577"/>
        <pc:sldMkLst>
          <pc:docMk/>
          <pc:sldMk cId="952143569" sldId="964"/>
        </pc:sldMkLst>
        <pc:spChg chg="mod">
          <ac:chgData name="christophe CHUECOS-FONT" userId="7e57acaa-4bc6-4644-8edc-0ecdded28594" providerId="ADAL" clId="{67DE474F-9E2C-4F68-B79B-1B1AA065A498}" dt="2021-04-02T14:02:06.609" v="2349" actId="20577"/>
          <ac:spMkLst>
            <pc:docMk/>
            <pc:sldMk cId="952143569" sldId="964"/>
            <ac:spMk id="2" creationId="{2D4F0E29-078B-4332-A192-DD74EA0A0044}"/>
          </ac:spMkLst>
        </pc:spChg>
        <pc:spChg chg="mod">
          <ac:chgData name="christophe CHUECOS-FONT" userId="7e57acaa-4bc6-4644-8edc-0ecdded28594" providerId="ADAL" clId="{67DE474F-9E2C-4F68-B79B-1B1AA065A498}" dt="2021-04-02T14:01:55.498" v="2326" actId="6549"/>
          <ac:spMkLst>
            <pc:docMk/>
            <pc:sldMk cId="952143569" sldId="964"/>
            <ac:spMk id="3" creationId="{4EC49F0B-85B3-42AF-A36B-BAB73C3095F7}"/>
          </ac:spMkLst>
        </pc:spChg>
      </pc:sldChg>
      <pc:sldChg chg="addSp delSp modSp new mod">
        <pc:chgData name="christophe CHUECOS-FONT" userId="7e57acaa-4bc6-4644-8edc-0ecdded28594" providerId="ADAL" clId="{67DE474F-9E2C-4F68-B79B-1B1AA065A498}" dt="2021-04-02T14:02:50.990" v="2374" actId="6549"/>
        <pc:sldMkLst>
          <pc:docMk/>
          <pc:sldMk cId="1037609881" sldId="965"/>
        </pc:sldMkLst>
        <pc:spChg chg="mod">
          <ac:chgData name="christophe CHUECOS-FONT" userId="7e57acaa-4bc6-4644-8edc-0ecdded28594" providerId="ADAL" clId="{67DE474F-9E2C-4F68-B79B-1B1AA065A498}" dt="2021-04-02T14:02:50.990" v="2374" actId="6549"/>
          <ac:spMkLst>
            <pc:docMk/>
            <pc:sldMk cId="1037609881" sldId="965"/>
            <ac:spMk id="2" creationId="{FBFDF166-4625-42C0-BEA4-E1440D675384}"/>
          </ac:spMkLst>
        </pc:spChg>
        <pc:spChg chg="del">
          <ac:chgData name="christophe CHUECOS-FONT" userId="7e57acaa-4bc6-4644-8edc-0ecdded28594" providerId="ADAL" clId="{67DE474F-9E2C-4F68-B79B-1B1AA065A498}" dt="2021-04-02T14:02:32.456" v="2353"/>
          <ac:spMkLst>
            <pc:docMk/>
            <pc:sldMk cId="1037609881" sldId="965"/>
            <ac:spMk id="3" creationId="{1334AB6B-9241-43BC-B6F0-64BDB1312EBA}"/>
          </ac:spMkLst>
        </pc:spChg>
        <pc:spChg chg="add del">
          <ac:chgData name="christophe CHUECOS-FONT" userId="7e57acaa-4bc6-4644-8edc-0ecdded28594" providerId="ADAL" clId="{67DE474F-9E2C-4F68-B79B-1B1AA065A498}" dt="2021-04-02T14:02:27.908" v="2352"/>
          <ac:spMkLst>
            <pc:docMk/>
            <pc:sldMk cId="1037609881" sldId="965"/>
            <ac:spMk id="4" creationId="{7EE12AA1-8B9D-4283-BAB6-81E2F197EEB7}"/>
          </ac:spMkLst>
        </pc:spChg>
        <pc:spChg chg="add del">
          <ac:chgData name="christophe CHUECOS-FONT" userId="7e57acaa-4bc6-4644-8edc-0ecdded28594" providerId="ADAL" clId="{67DE474F-9E2C-4F68-B79B-1B1AA065A498}" dt="2021-04-02T14:02:27.908" v="2352"/>
          <ac:spMkLst>
            <pc:docMk/>
            <pc:sldMk cId="1037609881" sldId="965"/>
            <ac:spMk id="6" creationId="{E3E5F097-4E70-4140-AF2D-840EE7D2B7CF}"/>
          </ac:spMkLst>
        </pc:spChg>
        <pc:graphicFrameChg chg="add del">
          <ac:chgData name="christophe CHUECOS-FONT" userId="7e57acaa-4bc6-4644-8edc-0ecdded28594" providerId="ADAL" clId="{67DE474F-9E2C-4F68-B79B-1B1AA065A498}" dt="2021-04-02T14:02:27.908" v="2352"/>
          <ac:graphicFrameMkLst>
            <pc:docMk/>
            <pc:sldMk cId="1037609881" sldId="965"/>
            <ac:graphicFrameMk id="5" creationId="{99FA94AE-BA37-4FF9-A5AF-446D82560147}"/>
          </ac:graphicFrameMkLst>
        </pc:graphicFrameChg>
        <pc:picChg chg="add mod">
          <ac:chgData name="christophe CHUECOS-FONT" userId="7e57acaa-4bc6-4644-8edc-0ecdded28594" providerId="ADAL" clId="{67DE474F-9E2C-4F68-B79B-1B1AA065A498}" dt="2021-04-02T14:02:43.058" v="2357" actId="14100"/>
          <ac:picMkLst>
            <pc:docMk/>
            <pc:sldMk cId="1037609881" sldId="965"/>
            <ac:picMk id="7" creationId="{1AB51F4B-15F3-41C6-94E6-2484E618470D}"/>
          </ac:picMkLst>
        </pc:picChg>
      </pc:sldChg>
      <pc:sldChg chg="addSp delSp modSp new mod setBg">
        <pc:chgData name="christophe CHUECOS-FONT" userId="7e57acaa-4bc6-4644-8edc-0ecdded28594" providerId="ADAL" clId="{67DE474F-9E2C-4F68-B79B-1B1AA065A498}" dt="2021-04-02T14:31:18.316" v="2722" actId="26606"/>
        <pc:sldMkLst>
          <pc:docMk/>
          <pc:sldMk cId="198804222" sldId="966"/>
        </pc:sldMkLst>
        <pc:spChg chg="mod">
          <ac:chgData name="christophe CHUECOS-FONT" userId="7e57acaa-4bc6-4644-8edc-0ecdded28594" providerId="ADAL" clId="{67DE474F-9E2C-4F68-B79B-1B1AA065A498}" dt="2021-04-02T14:31:18.316" v="2722" actId="26606"/>
          <ac:spMkLst>
            <pc:docMk/>
            <pc:sldMk cId="198804222" sldId="966"/>
            <ac:spMk id="2" creationId="{A2E8ADB1-B7C1-4B39-813B-0BDD34F5B405}"/>
          </ac:spMkLst>
        </pc:spChg>
        <pc:spChg chg="del mod">
          <ac:chgData name="christophe CHUECOS-FONT" userId="7e57acaa-4bc6-4644-8edc-0ecdded28594" providerId="ADAL" clId="{67DE474F-9E2C-4F68-B79B-1B1AA065A498}" dt="2021-04-02T14:31:18.316" v="2722" actId="26606"/>
          <ac:spMkLst>
            <pc:docMk/>
            <pc:sldMk cId="198804222" sldId="966"/>
            <ac:spMk id="3" creationId="{B6847A09-036D-4586-B446-D9AB81A8DE3F}"/>
          </ac:spMkLst>
        </pc:spChg>
        <pc:spChg chg="add">
          <ac:chgData name="christophe CHUECOS-FONT" userId="7e57acaa-4bc6-4644-8edc-0ecdded28594" providerId="ADAL" clId="{67DE474F-9E2C-4F68-B79B-1B1AA065A498}" dt="2021-04-02T14:31:18.316" v="2722" actId="26606"/>
          <ac:spMkLst>
            <pc:docMk/>
            <pc:sldMk cId="198804222" sldId="966"/>
            <ac:spMk id="9" creationId="{68575C10-8187-4AC4-AD72-C754EAFD2867}"/>
          </ac:spMkLst>
        </pc:spChg>
        <pc:graphicFrameChg chg="add">
          <ac:chgData name="christophe CHUECOS-FONT" userId="7e57acaa-4bc6-4644-8edc-0ecdded28594" providerId="ADAL" clId="{67DE474F-9E2C-4F68-B79B-1B1AA065A498}" dt="2021-04-02T14:31:18.316" v="2722" actId="26606"/>
          <ac:graphicFrameMkLst>
            <pc:docMk/>
            <pc:sldMk cId="198804222" sldId="966"/>
            <ac:graphicFrameMk id="5" creationId="{6DFD2393-4D0C-41E4-8C83-15525D62C1EF}"/>
          </ac:graphicFrameMkLst>
        </pc:graphicFrameChg>
        <pc:cxnChg chg="add">
          <ac:chgData name="christophe CHUECOS-FONT" userId="7e57acaa-4bc6-4644-8edc-0ecdded28594" providerId="ADAL" clId="{67DE474F-9E2C-4F68-B79B-1B1AA065A498}" dt="2021-04-02T14:31:18.316" v="2722" actId="26606"/>
          <ac:cxnSpMkLst>
            <pc:docMk/>
            <pc:sldMk cId="198804222" sldId="966"/>
            <ac:cxnSpMk id="11" creationId="{74E776C9-ED67-41B7-B3A3-4DF76EF3ACEE}"/>
          </ac:cxnSpMkLst>
        </pc:cxnChg>
      </pc:sldChg>
      <pc:sldChg chg="addSp delSp modSp new mod setBg">
        <pc:chgData name="christophe CHUECOS-FONT" userId="7e57acaa-4bc6-4644-8edc-0ecdded28594" providerId="ADAL" clId="{67DE474F-9E2C-4F68-B79B-1B1AA065A498}" dt="2021-04-02T14:31:24.104" v="2723" actId="26606"/>
        <pc:sldMkLst>
          <pc:docMk/>
          <pc:sldMk cId="3218206374" sldId="967"/>
        </pc:sldMkLst>
        <pc:spChg chg="mod">
          <ac:chgData name="christophe CHUECOS-FONT" userId="7e57acaa-4bc6-4644-8edc-0ecdded28594" providerId="ADAL" clId="{67DE474F-9E2C-4F68-B79B-1B1AA065A498}" dt="2021-04-02T14:31:24.104" v="2723" actId="26606"/>
          <ac:spMkLst>
            <pc:docMk/>
            <pc:sldMk cId="3218206374" sldId="967"/>
            <ac:spMk id="2" creationId="{857D98BB-790E-4021-AA5D-57B0166491A7}"/>
          </ac:spMkLst>
        </pc:spChg>
        <pc:spChg chg="del mod">
          <ac:chgData name="christophe CHUECOS-FONT" userId="7e57acaa-4bc6-4644-8edc-0ecdded28594" providerId="ADAL" clId="{67DE474F-9E2C-4F68-B79B-1B1AA065A498}" dt="2021-04-02T14:31:24.104" v="2723" actId="26606"/>
          <ac:spMkLst>
            <pc:docMk/>
            <pc:sldMk cId="3218206374" sldId="967"/>
            <ac:spMk id="3" creationId="{23300C9A-B8F6-4087-82CB-B1B2DD4DA1E3}"/>
          </ac:spMkLst>
        </pc:spChg>
        <pc:spChg chg="add">
          <ac:chgData name="christophe CHUECOS-FONT" userId="7e57acaa-4bc6-4644-8edc-0ecdded28594" providerId="ADAL" clId="{67DE474F-9E2C-4F68-B79B-1B1AA065A498}" dt="2021-04-02T14:31:24.104" v="2723" actId="26606"/>
          <ac:spMkLst>
            <pc:docMk/>
            <pc:sldMk cId="3218206374" sldId="967"/>
            <ac:spMk id="10" creationId="{86C7B4A1-154A-4DF0-AC46-F88D75A2E0FD}"/>
          </ac:spMkLst>
        </pc:spChg>
        <pc:graphicFrameChg chg="add">
          <ac:chgData name="christophe CHUECOS-FONT" userId="7e57acaa-4bc6-4644-8edc-0ecdded28594" providerId="ADAL" clId="{67DE474F-9E2C-4F68-B79B-1B1AA065A498}" dt="2021-04-02T14:31:24.104" v="2723" actId="26606"/>
          <ac:graphicFrameMkLst>
            <pc:docMk/>
            <pc:sldMk cId="3218206374" sldId="967"/>
            <ac:graphicFrameMk id="5" creationId="{617803DD-FD6B-4314-9E7E-DF6226462813}"/>
          </ac:graphicFrameMkLst>
        </pc:graphicFrameChg>
        <pc:picChg chg="add">
          <ac:chgData name="christophe CHUECOS-FONT" userId="7e57acaa-4bc6-4644-8edc-0ecdded28594" providerId="ADAL" clId="{67DE474F-9E2C-4F68-B79B-1B1AA065A498}" dt="2021-04-02T14:31:24.104" v="2723" actId="26606"/>
          <ac:picMkLst>
            <pc:docMk/>
            <pc:sldMk cId="3218206374" sldId="967"/>
            <ac:picMk id="6" creationId="{DAA6C58C-5954-4FA8-A56A-A377BC1EE83D}"/>
          </ac:picMkLst>
        </pc:picChg>
      </pc:sldChg>
      <pc:sldChg chg="addSp modSp add mod setBg">
        <pc:chgData name="christophe CHUECOS-FONT" userId="7e57acaa-4bc6-4644-8edc-0ecdded28594" providerId="ADAL" clId="{67DE474F-9E2C-4F68-B79B-1B1AA065A498}" dt="2021-04-02T14:31:29.658" v="2724" actId="26606"/>
        <pc:sldMkLst>
          <pc:docMk/>
          <pc:sldMk cId="480113765" sldId="968"/>
        </pc:sldMkLst>
        <pc:spChg chg="mod">
          <ac:chgData name="christophe CHUECOS-FONT" userId="7e57acaa-4bc6-4644-8edc-0ecdded28594" providerId="ADAL" clId="{67DE474F-9E2C-4F68-B79B-1B1AA065A498}" dt="2021-04-02T14:31:29.658" v="2724" actId="26606"/>
          <ac:spMkLst>
            <pc:docMk/>
            <pc:sldMk cId="480113765" sldId="968"/>
            <ac:spMk id="2" creationId="{857D98BB-790E-4021-AA5D-57B0166491A7}"/>
          </ac:spMkLst>
        </pc:spChg>
        <pc:spChg chg="mod">
          <ac:chgData name="christophe CHUECOS-FONT" userId="7e57acaa-4bc6-4644-8edc-0ecdded28594" providerId="ADAL" clId="{67DE474F-9E2C-4F68-B79B-1B1AA065A498}" dt="2021-04-02T14:31:29.658" v="2724" actId="26606"/>
          <ac:spMkLst>
            <pc:docMk/>
            <pc:sldMk cId="480113765" sldId="968"/>
            <ac:spMk id="3" creationId="{23300C9A-B8F6-4087-82CB-B1B2DD4DA1E3}"/>
          </ac:spMkLst>
        </pc:spChg>
        <pc:spChg chg="add">
          <ac:chgData name="christophe CHUECOS-FONT" userId="7e57acaa-4bc6-4644-8edc-0ecdded28594" providerId="ADAL" clId="{67DE474F-9E2C-4F68-B79B-1B1AA065A498}" dt="2021-04-02T14:31:29.658" v="2724" actId="26606"/>
          <ac:spMkLst>
            <pc:docMk/>
            <pc:sldMk cId="480113765" sldId="968"/>
            <ac:spMk id="8" creationId="{1B15ED52-F352-441B-82BF-E0EA34836D08}"/>
          </ac:spMkLst>
        </pc:spChg>
        <pc:spChg chg="add">
          <ac:chgData name="christophe CHUECOS-FONT" userId="7e57acaa-4bc6-4644-8edc-0ecdded28594" providerId="ADAL" clId="{67DE474F-9E2C-4F68-B79B-1B1AA065A498}" dt="2021-04-02T14:31:29.658" v="2724" actId="26606"/>
          <ac:spMkLst>
            <pc:docMk/>
            <pc:sldMk cId="480113765" sldId="968"/>
            <ac:spMk id="10" creationId="{3B2E3793-BFE6-45A2-9B7B-E18844431C99}"/>
          </ac:spMkLst>
        </pc:spChg>
        <pc:spChg chg="add">
          <ac:chgData name="christophe CHUECOS-FONT" userId="7e57acaa-4bc6-4644-8edc-0ecdded28594" providerId="ADAL" clId="{67DE474F-9E2C-4F68-B79B-1B1AA065A498}" dt="2021-04-02T14:31:29.658" v="2724" actId="26606"/>
          <ac:spMkLst>
            <pc:docMk/>
            <pc:sldMk cId="480113765" sldId="968"/>
            <ac:spMk id="12" creationId="{BC4C4868-CB8F-4AF9-9CDB-8108F2C19B67}"/>
          </ac:spMkLst>
        </pc:spChg>
        <pc:spChg chg="add">
          <ac:chgData name="christophe CHUECOS-FONT" userId="7e57acaa-4bc6-4644-8edc-0ecdded28594" providerId="ADAL" clId="{67DE474F-9E2C-4F68-B79B-1B1AA065A498}" dt="2021-04-02T14:31:29.658" v="2724" actId="26606"/>
          <ac:spMkLst>
            <pc:docMk/>
            <pc:sldMk cId="480113765" sldId="968"/>
            <ac:spMk id="14" creationId="{375E0459-6403-40CD-989D-56A4407CA12E}"/>
          </ac:spMkLst>
        </pc:spChg>
        <pc:spChg chg="add">
          <ac:chgData name="christophe CHUECOS-FONT" userId="7e57acaa-4bc6-4644-8edc-0ecdded28594" providerId="ADAL" clId="{67DE474F-9E2C-4F68-B79B-1B1AA065A498}" dt="2021-04-02T14:31:29.658" v="2724" actId="26606"/>
          <ac:spMkLst>
            <pc:docMk/>
            <pc:sldMk cId="480113765" sldId="968"/>
            <ac:spMk id="16" creationId="{53E5B1A8-3AC9-4BD1-9BBC-78CA94F2D1BA}"/>
          </ac:spMkLst>
        </pc:spChg>
      </pc:sldChg>
      <pc:sldChg chg="addSp modSp new mod setBg">
        <pc:chgData name="christophe CHUECOS-FONT" userId="7e57acaa-4bc6-4644-8edc-0ecdded28594" providerId="ADAL" clId="{67DE474F-9E2C-4F68-B79B-1B1AA065A498}" dt="2021-04-02T14:31:42.635" v="2726" actId="14100"/>
        <pc:sldMkLst>
          <pc:docMk/>
          <pc:sldMk cId="1576801385" sldId="969"/>
        </pc:sldMkLst>
        <pc:spChg chg="mod">
          <ac:chgData name="christophe CHUECOS-FONT" userId="7e57acaa-4bc6-4644-8edc-0ecdded28594" providerId="ADAL" clId="{67DE474F-9E2C-4F68-B79B-1B1AA065A498}" dt="2021-04-02T14:31:36.939" v="2725" actId="26606"/>
          <ac:spMkLst>
            <pc:docMk/>
            <pc:sldMk cId="1576801385" sldId="969"/>
            <ac:spMk id="2" creationId="{53B7089E-8512-4AD3-AE5A-3C458ED09861}"/>
          </ac:spMkLst>
        </pc:spChg>
        <pc:spChg chg="mod">
          <ac:chgData name="christophe CHUECOS-FONT" userId="7e57acaa-4bc6-4644-8edc-0ecdded28594" providerId="ADAL" clId="{67DE474F-9E2C-4F68-B79B-1B1AA065A498}" dt="2021-04-02T14:31:42.635" v="2726" actId="14100"/>
          <ac:spMkLst>
            <pc:docMk/>
            <pc:sldMk cId="1576801385" sldId="969"/>
            <ac:spMk id="3" creationId="{B26CD205-1827-4FC6-A33A-72F9F6006431}"/>
          </ac:spMkLst>
        </pc:spChg>
        <pc:spChg chg="add">
          <ac:chgData name="christophe CHUECOS-FONT" userId="7e57acaa-4bc6-4644-8edc-0ecdded28594" providerId="ADAL" clId="{67DE474F-9E2C-4F68-B79B-1B1AA065A498}" dt="2021-04-02T14:31:36.939" v="2725" actId="26606"/>
          <ac:spMkLst>
            <pc:docMk/>
            <pc:sldMk cId="1576801385" sldId="969"/>
            <ac:spMk id="8" creationId="{17718681-A12E-49D6-9925-DD7C68176D61}"/>
          </ac:spMkLst>
        </pc:spChg>
        <pc:spChg chg="add">
          <ac:chgData name="christophe CHUECOS-FONT" userId="7e57acaa-4bc6-4644-8edc-0ecdded28594" providerId="ADAL" clId="{67DE474F-9E2C-4F68-B79B-1B1AA065A498}" dt="2021-04-02T14:31:36.939" v="2725" actId="26606"/>
          <ac:spMkLst>
            <pc:docMk/>
            <pc:sldMk cId="1576801385" sldId="969"/>
            <ac:spMk id="10" creationId="{FBD77573-9EF2-4C35-8285-A1CF6FBB0EA5}"/>
          </ac:spMkLst>
        </pc:spChg>
      </pc:sldChg>
      <pc:sldChg chg="modSp add mod">
        <pc:chgData name="christophe CHUECOS-FONT" userId="7e57acaa-4bc6-4644-8edc-0ecdded28594" providerId="ADAL" clId="{67DE474F-9E2C-4F68-B79B-1B1AA065A498}" dt="2021-04-02T14:16:41.991" v="2684" actId="27636"/>
        <pc:sldMkLst>
          <pc:docMk/>
          <pc:sldMk cId="1602978590" sldId="970"/>
        </pc:sldMkLst>
        <pc:spChg chg="mod">
          <ac:chgData name="christophe CHUECOS-FONT" userId="7e57acaa-4bc6-4644-8edc-0ecdded28594" providerId="ADAL" clId="{67DE474F-9E2C-4F68-B79B-1B1AA065A498}" dt="2021-04-02T14:16:41.991" v="2684" actId="27636"/>
          <ac:spMkLst>
            <pc:docMk/>
            <pc:sldMk cId="1602978590" sldId="970"/>
            <ac:spMk id="3" creationId="{B26CD205-1827-4FC6-A33A-72F9F6006431}"/>
          </ac:spMkLst>
        </pc:spChg>
      </pc:sldChg>
      <pc:sldChg chg="addSp delSp modSp new mod">
        <pc:chgData name="christophe CHUECOS-FONT" userId="7e57acaa-4bc6-4644-8edc-0ecdded28594" providerId="ADAL" clId="{67DE474F-9E2C-4F68-B79B-1B1AA065A498}" dt="2021-04-02T14:14:57.985" v="2587" actId="14100"/>
        <pc:sldMkLst>
          <pc:docMk/>
          <pc:sldMk cId="3656254179" sldId="971"/>
        </pc:sldMkLst>
        <pc:spChg chg="mod">
          <ac:chgData name="christophe CHUECOS-FONT" userId="7e57acaa-4bc6-4644-8edc-0ecdded28594" providerId="ADAL" clId="{67DE474F-9E2C-4F68-B79B-1B1AA065A498}" dt="2021-04-02T14:07:42.761" v="2525" actId="20577"/>
          <ac:spMkLst>
            <pc:docMk/>
            <pc:sldMk cId="3656254179" sldId="971"/>
            <ac:spMk id="2" creationId="{168238B8-C0BE-40C6-8944-21A2A8E27CC3}"/>
          </ac:spMkLst>
        </pc:spChg>
        <pc:spChg chg="del">
          <ac:chgData name="christophe CHUECOS-FONT" userId="7e57acaa-4bc6-4644-8edc-0ecdded28594" providerId="ADAL" clId="{67DE474F-9E2C-4F68-B79B-1B1AA065A498}" dt="2021-04-02T14:13:44.864" v="2527" actId="478"/>
          <ac:spMkLst>
            <pc:docMk/>
            <pc:sldMk cId="3656254179" sldId="971"/>
            <ac:spMk id="3" creationId="{A9C61728-FFC0-441E-8700-AFD84CC9912B}"/>
          </ac:spMkLst>
        </pc:spChg>
        <pc:spChg chg="add del mod">
          <ac:chgData name="christophe CHUECOS-FONT" userId="7e57acaa-4bc6-4644-8edc-0ecdded28594" providerId="ADAL" clId="{67DE474F-9E2C-4F68-B79B-1B1AA065A498}" dt="2021-04-02T14:14:32.368" v="2583" actId="478"/>
          <ac:spMkLst>
            <pc:docMk/>
            <pc:sldMk cId="3656254179" sldId="971"/>
            <ac:spMk id="6" creationId="{B83F2766-10EE-4023-8D84-8CC27B6F455A}"/>
          </ac:spMkLst>
        </pc:spChg>
        <pc:spChg chg="add del mod">
          <ac:chgData name="christophe CHUECOS-FONT" userId="7e57acaa-4bc6-4644-8edc-0ecdded28594" providerId="ADAL" clId="{67DE474F-9E2C-4F68-B79B-1B1AA065A498}" dt="2021-04-02T14:14:30.296" v="2582" actId="478"/>
          <ac:spMkLst>
            <pc:docMk/>
            <pc:sldMk cId="3656254179" sldId="971"/>
            <ac:spMk id="7" creationId="{5B58D1DA-4380-4BBE-8657-46526F0FE5B7}"/>
          </ac:spMkLst>
        </pc:spChg>
        <pc:spChg chg="add del mod">
          <ac:chgData name="christophe CHUECOS-FONT" userId="7e57acaa-4bc6-4644-8edc-0ecdded28594" providerId="ADAL" clId="{67DE474F-9E2C-4F68-B79B-1B1AA065A498}" dt="2021-04-02T14:14:28.005" v="2580" actId="478"/>
          <ac:spMkLst>
            <pc:docMk/>
            <pc:sldMk cId="3656254179" sldId="971"/>
            <ac:spMk id="8" creationId="{7231067B-48D1-4E81-B229-62CE0668AA98}"/>
          </ac:spMkLst>
        </pc:spChg>
        <pc:spChg chg="add del mod">
          <ac:chgData name="christophe CHUECOS-FONT" userId="7e57acaa-4bc6-4644-8edc-0ecdded28594" providerId="ADAL" clId="{67DE474F-9E2C-4F68-B79B-1B1AA065A498}" dt="2021-04-02T14:14:28.745" v="2581" actId="478"/>
          <ac:spMkLst>
            <pc:docMk/>
            <pc:sldMk cId="3656254179" sldId="971"/>
            <ac:spMk id="9" creationId="{C477877F-2DF6-4774-BA2B-CD60E226300D}"/>
          </ac:spMkLst>
        </pc:spChg>
        <pc:spChg chg="add mod">
          <ac:chgData name="christophe CHUECOS-FONT" userId="7e57acaa-4bc6-4644-8edc-0ecdded28594" providerId="ADAL" clId="{67DE474F-9E2C-4F68-B79B-1B1AA065A498}" dt="2021-04-02T14:13:54.784" v="2529"/>
          <ac:spMkLst>
            <pc:docMk/>
            <pc:sldMk cId="3656254179" sldId="971"/>
            <ac:spMk id="10" creationId="{9B6A9EDE-AD4F-43CD-BAB5-9CE78292A226}"/>
          </ac:spMkLst>
        </pc:spChg>
        <pc:graphicFrameChg chg="add del mod">
          <ac:chgData name="christophe CHUECOS-FONT" userId="7e57acaa-4bc6-4644-8edc-0ecdded28594" providerId="ADAL" clId="{67DE474F-9E2C-4F68-B79B-1B1AA065A498}" dt="2021-04-02T14:13:56.232" v="2530" actId="478"/>
          <ac:graphicFrameMkLst>
            <pc:docMk/>
            <pc:sldMk cId="3656254179" sldId="971"/>
            <ac:graphicFrameMk id="4" creationId="{47FAE76F-50A2-487D-BF38-5FBDF07DAE47}"/>
          </ac:graphicFrameMkLst>
        </pc:graphicFrameChg>
        <pc:graphicFrameChg chg="add del mod modGraphic">
          <ac:chgData name="christophe CHUECOS-FONT" userId="7e57acaa-4bc6-4644-8edc-0ecdded28594" providerId="ADAL" clId="{67DE474F-9E2C-4F68-B79B-1B1AA065A498}" dt="2021-04-02T14:14:26.118" v="2579" actId="478"/>
          <ac:graphicFrameMkLst>
            <pc:docMk/>
            <pc:sldMk cId="3656254179" sldId="971"/>
            <ac:graphicFrameMk id="5" creationId="{229AC98A-2643-47DA-82A6-AC3752D7697D}"/>
          </ac:graphicFrameMkLst>
        </pc:graphicFrameChg>
        <pc:graphicFrameChg chg="add mod">
          <ac:chgData name="christophe CHUECOS-FONT" userId="7e57acaa-4bc6-4644-8edc-0ecdded28594" providerId="ADAL" clId="{67DE474F-9E2C-4F68-B79B-1B1AA065A498}" dt="2021-04-02T14:14:57.985" v="2587" actId="14100"/>
          <ac:graphicFrameMkLst>
            <pc:docMk/>
            <pc:sldMk cId="3656254179" sldId="971"/>
            <ac:graphicFrameMk id="11" creationId="{5EB7C54B-7185-407F-8361-9934F3CED23B}"/>
          </ac:graphicFrameMkLst>
        </pc:graphicFrameChg>
      </pc:sldChg>
      <pc:sldChg chg="addSp delSp modSp new mod">
        <pc:chgData name="christophe CHUECOS-FONT" userId="7e57acaa-4bc6-4644-8edc-0ecdded28594" providerId="ADAL" clId="{67DE474F-9E2C-4F68-B79B-1B1AA065A498}" dt="2021-04-02T14:17:50.856" v="2719" actId="6549"/>
        <pc:sldMkLst>
          <pc:docMk/>
          <pc:sldMk cId="432476417" sldId="972"/>
        </pc:sldMkLst>
        <pc:spChg chg="mod">
          <ac:chgData name="christophe CHUECOS-FONT" userId="7e57acaa-4bc6-4644-8edc-0ecdded28594" providerId="ADAL" clId="{67DE474F-9E2C-4F68-B79B-1B1AA065A498}" dt="2021-04-02T14:17:50.856" v="2719" actId="6549"/>
          <ac:spMkLst>
            <pc:docMk/>
            <pc:sldMk cId="432476417" sldId="972"/>
            <ac:spMk id="2" creationId="{932C7AE2-AA15-4850-BBBB-A168A1B6B92E}"/>
          </ac:spMkLst>
        </pc:spChg>
        <pc:spChg chg="del">
          <ac:chgData name="christophe CHUECOS-FONT" userId="7e57acaa-4bc6-4644-8edc-0ecdded28594" providerId="ADAL" clId="{67DE474F-9E2C-4F68-B79B-1B1AA065A498}" dt="2021-04-02T14:17:33.180" v="2687"/>
          <ac:spMkLst>
            <pc:docMk/>
            <pc:sldMk cId="432476417" sldId="972"/>
            <ac:spMk id="3" creationId="{62A60B3E-535A-4F9D-89EB-97351A83066C}"/>
          </ac:spMkLst>
        </pc:spChg>
        <pc:graphicFrameChg chg="add mod modGraphic">
          <ac:chgData name="christophe CHUECOS-FONT" userId="7e57acaa-4bc6-4644-8edc-0ecdded28594" providerId="ADAL" clId="{67DE474F-9E2C-4F68-B79B-1B1AA065A498}" dt="2021-04-02T14:17:39.506" v="2689" actId="14100"/>
          <ac:graphicFrameMkLst>
            <pc:docMk/>
            <pc:sldMk cId="432476417" sldId="972"/>
            <ac:graphicFrameMk id="4" creationId="{77AC19AD-F523-4504-8864-039CD8BE6039}"/>
          </ac:graphicFrameMkLst>
        </pc:graphicFrameChg>
      </pc:sldChg>
      <pc:sldChg chg="add del">
        <pc:chgData name="christophe CHUECOS-FONT" userId="7e57acaa-4bc6-4644-8edc-0ecdded28594" providerId="ADAL" clId="{67DE474F-9E2C-4F68-B79B-1B1AA065A498}" dt="2021-04-02T14:16:49.167" v="2685" actId="47"/>
        <pc:sldMkLst>
          <pc:docMk/>
          <pc:sldMk cId="2864443345" sldId="972"/>
        </pc:sldMkLst>
      </pc:sldChg>
      <pc:sldMasterChg chg="del delSldLayout">
        <pc:chgData name="christophe CHUECOS-FONT" userId="7e57acaa-4bc6-4644-8edc-0ecdded28594" providerId="ADAL" clId="{67DE474F-9E2C-4F68-B79B-1B1AA065A498}" dt="2021-04-01T21:10:12.882" v="31" actId="47"/>
        <pc:sldMasterMkLst>
          <pc:docMk/>
          <pc:sldMasterMk cId="33070319" sldId="2147483684"/>
        </pc:sldMasterMkLst>
        <pc:sldLayoutChg chg="del">
          <pc:chgData name="christophe CHUECOS-FONT" userId="7e57acaa-4bc6-4644-8edc-0ecdded28594" providerId="ADAL" clId="{67DE474F-9E2C-4F68-B79B-1B1AA065A498}" dt="2021-04-01T21:10:12.882" v="31" actId="47"/>
          <pc:sldLayoutMkLst>
            <pc:docMk/>
            <pc:sldMasterMk cId="33070319" sldId="2147483684"/>
            <pc:sldLayoutMk cId="2501676829" sldId="2147483685"/>
          </pc:sldLayoutMkLst>
        </pc:sldLayoutChg>
        <pc:sldLayoutChg chg="del">
          <pc:chgData name="christophe CHUECOS-FONT" userId="7e57acaa-4bc6-4644-8edc-0ecdded28594" providerId="ADAL" clId="{67DE474F-9E2C-4F68-B79B-1B1AA065A498}" dt="2021-04-01T21:10:12.882" v="31" actId="47"/>
          <pc:sldLayoutMkLst>
            <pc:docMk/>
            <pc:sldMasterMk cId="33070319" sldId="2147483684"/>
            <pc:sldLayoutMk cId="4099615374" sldId="2147483686"/>
          </pc:sldLayoutMkLst>
        </pc:sldLayoutChg>
        <pc:sldLayoutChg chg="del">
          <pc:chgData name="christophe CHUECOS-FONT" userId="7e57acaa-4bc6-4644-8edc-0ecdded28594" providerId="ADAL" clId="{67DE474F-9E2C-4F68-B79B-1B1AA065A498}" dt="2021-04-01T21:10:12.882" v="31" actId="47"/>
          <pc:sldLayoutMkLst>
            <pc:docMk/>
            <pc:sldMasterMk cId="33070319" sldId="2147483684"/>
            <pc:sldLayoutMk cId="3657292247" sldId="2147483687"/>
          </pc:sldLayoutMkLst>
        </pc:sldLayoutChg>
        <pc:sldLayoutChg chg="del">
          <pc:chgData name="christophe CHUECOS-FONT" userId="7e57acaa-4bc6-4644-8edc-0ecdded28594" providerId="ADAL" clId="{67DE474F-9E2C-4F68-B79B-1B1AA065A498}" dt="2021-04-01T21:10:12.882" v="31" actId="47"/>
          <pc:sldLayoutMkLst>
            <pc:docMk/>
            <pc:sldMasterMk cId="33070319" sldId="2147483684"/>
            <pc:sldLayoutMk cId="267705918" sldId="2147483688"/>
          </pc:sldLayoutMkLst>
        </pc:sldLayoutChg>
        <pc:sldLayoutChg chg="del">
          <pc:chgData name="christophe CHUECOS-FONT" userId="7e57acaa-4bc6-4644-8edc-0ecdded28594" providerId="ADAL" clId="{67DE474F-9E2C-4F68-B79B-1B1AA065A498}" dt="2021-04-01T21:10:12.882" v="31" actId="47"/>
          <pc:sldLayoutMkLst>
            <pc:docMk/>
            <pc:sldMasterMk cId="33070319" sldId="2147483684"/>
            <pc:sldLayoutMk cId="1040196531" sldId="2147483689"/>
          </pc:sldLayoutMkLst>
        </pc:sldLayoutChg>
        <pc:sldLayoutChg chg="del">
          <pc:chgData name="christophe CHUECOS-FONT" userId="7e57acaa-4bc6-4644-8edc-0ecdded28594" providerId="ADAL" clId="{67DE474F-9E2C-4F68-B79B-1B1AA065A498}" dt="2021-04-01T21:10:12.882" v="31" actId="47"/>
          <pc:sldLayoutMkLst>
            <pc:docMk/>
            <pc:sldMasterMk cId="33070319" sldId="2147483684"/>
            <pc:sldLayoutMk cId="3905162884" sldId="2147483690"/>
          </pc:sldLayoutMkLst>
        </pc:sldLayoutChg>
        <pc:sldLayoutChg chg="del">
          <pc:chgData name="christophe CHUECOS-FONT" userId="7e57acaa-4bc6-4644-8edc-0ecdded28594" providerId="ADAL" clId="{67DE474F-9E2C-4F68-B79B-1B1AA065A498}" dt="2021-04-01T21:10:12.882" v="31" actId="47"/>
          <pc:sldLayoutMkLst>
            <pc:docMk/>
            <pc:sldMasterMk cId="33070319" sldId="2147483684"/>
            <pc:sldLayoutMk cId="1032192816" sldId="2147483691"/>
          </pc:sldLayoutMkLst>
        </pc:sldLayoutChg>
        <pc:sldLayoutChg chg="del">
          <pc:chgData name="christophe CHUECOS-FONT" userId="7e57acaa-4bc6-4644-8edc-0ecdded28594" providerId="ADAL" clId="{67DE474F-9E2C-4F68-B79B-1B1AA065A498}" dt="2021-04-01T21:10:12.882" v="31" actId="47"/>
          <pc:sldLayoutMkLst>
            <pc:docMk/>
            <pc:sldMasterMk cId="33070319" sldId="2147483684"/>
            <pc:sldLayoutMk cId="3349092936" sldId="2147483692"/>
          </pc:sldLayoutMkLst>
        </pc:sldLayoutChg>
        <pc:sldLayoutChg chg="del">
          <pc:chgData name="christophe CHUECOS-FONT" userId="7e57acaa-4bc6-4644-8edc-0ecdded28594" providerId="ADAL" clId="{67DE474F-9E2C-4F68-B79B-1B1AA065A498}" dt="2021-04-01T21:10:12.882" v="31" actId="47"/>
          <pc:sldLayoutMkLst>
            <pc:docMk/>
            <pc:sldMasterMk cId="33070319" sldId="2147483684"/>
            <pc:sldLayoutMk cId="2661997866" sldId="2147483693"/>
          </pc:sldLayoutMkLst>
        </pc:sldLayoutChg>
        <pc:sldLayoutChg chg="del">
          <pc:chgData name="christophe CHUECOS-FONT" userId="7e57acaa-4bc6-4644-8edc-0ecdded28594" providerId="ADAL" clId="{67DE474F-9E2C-4F68-B79B-1B1AA065A498}" dt="2021-04-01T21:10:12.882" v="31" actId="47"/>
          <pc:sldLayoutMkLst>
            <pc:docMk/>
            <pc:sldMasterMk cId="33070319" sldId="2147483684"/>
            <pc:sldLayoutMk cId="2752016465" sldId="2147483694"/>
          </pc:sldLayoutMkLst>
        </pc:sldLayoutChg>
        <pc:sldLayoutChg chg="del">
          <pc:chgData name="christophe CHUECOS-FONT" userId="7e57acaa-4bc6-4644-8edc-0ecdded28594" providerId="ADAL" clId="{67DE474F-9E2C-4F68-B79B-1B1AA065A498}" dt="2021-04-01T21:10:12.882" v="31" actId="47"/>
          <pc:sldLayoutMkLst>
            <pc:docMk/>
            <pc:sldMasterMk cId="33070319" sldId="2147483684"/>
            <pc:sldLayoutMk cId="2964460853" sldId="214748369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C74E31-4102-4DAB-AA30-205A8BC854D4}" type="datetimeFigureOut">
              <a:rPr lang="fr-FR" smtClean="0"/>
              <a:t>30/04/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99E81F-EEE6-4E3A-AE16-C0BE10FF1680}" type="slidenum">
              <a:rPr lang="fr-FR" smtClean="0"/>
              <a:t>‹N°›</a:t>
            </a:fld>
            <a:endParaRPr lang="fr-FR"/>
          </a:p>
        </p:txBody>
      </p:sp>
    </p:spTree>
    <p:extLst>
      <p:ext uri="{BB962C8B-B14F-4D97-AF65-F5344CB8AC3E}">
        <p14:creationId xmlns:p14="http://schemas.microsoft.com/office/powerpoint/2010/main" val="32654023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a:t>
            </a:fld>
            <a:endParaRPr lang="fr-FR" dirty="0"/>
          </a:p>
        </p:txBody>
      </p:sp>
    </p:spTree>
    <p:extLst>
      <p:ext uri="{BB962C8B-B14F-4D97-AF65-F5344CB8AC3E}">
        <p14:creationId xmlns:p14="http://schemas.microsoft.com/office/powerpoint/2010/main" val="2466770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3</a:t>
            </a:fld>
            <a:endParaRPr lang="fr-FR" dirty="0"/>
          </a:p>
        </p:txBody>
      </p:sp>
    </p:spTree>
    <p:extLst>
      <p:ext uri="{BB962C8B-B14F-4D97-AF65-F5344CB8AC3E}">
        <p14:creationId xmlns:p14="http://schemas.microsoft.com/office/powerpoint/2010/main" val="2713567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443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36942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êt garanti par l état PGE</a:t>
            </a:r>
          </a:p>
          <a:p>
            <a:r>
              <a:rPr lang="fr-FR" dirty="0"/>
              <a:t>Report d’échéances</a:t>
            </a:r>
          </a:p>
          <a:p>
            <a:r>
              <a:rPr lang="fr-FR" dirty="0"/>
              <a:t>Gestion des sinistres</a:t>
            </a:r>
          </a:p>
          <a:p>
            <a:r>
              <a:rPr lang="fr-FR" dirty="0"/>
              <a:t>Outils de travail a distance + mesures de sécurité</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4235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C99E81F-EEE6-4E3A-AE16-C0BE10FF1680}" type="slidenum">
              <a:rPr lang="fr-FR" smtClean="0"/>
              <a:t>15</a:t>
            </a:fld>
            <a:endParaRPr lang="fr-FR" dirty="0"/>
          </a:p>
        </p:txBody>
      </p:sp>
    </p:spTree>
    <p:extLst>
      <p:ext uri="{BB962C8B-B14F-4D97-AF65-F5344CB8AC3E}">
        <p14:creationId xmlns:p14="http://schemas.microsoft.com/office/powerpoint/2010/main" val="36983355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7BD57D-84CD-4DA6-ACCF-8CEC063D82AC}"/>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9D19402C-4986-4F03-B149-B59478CBC5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316A17A5-4404-44D9-B645-2177629EB8B7}"/>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5" name="Espace réservé du pied de page 4">
            <a:extLst>
              <a:ext uri="{FF2B5EF4-FFF2-40B4-BE49-F238E27FC236}">
                <a16:creationId xmlns:a16="http://schemas.microsoft.com/office/drawing/2014/main" id="{8036A295-F235-411B-8653-78D5CFEBA5D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4D0148C-2377-437A-9B96-C1D01D45C6C1}"/>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39924178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CF77D9-A2E2-47AF-9DA6-3E88E50EDD37}"/>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2BF1DE80-A284-4C12-8998-96E09ECD2B36}"/>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39B5A0B-FBB5-4756-860F-875AB0CB7452}"/>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5" name="Espace réservé du pied de page 4">
            <a:extLst>
              <a:ext uri="{FF2B5EF4-FFF2-40B4-BE49-F238E27FC236}">
                <a16:creationId xmlns:a16="http://schemas.microsoft.com/office/drawing/2014/main" id="{442CC808-89A4-47E4-B295-3F9116F8297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D55BD20-72DC-487C-8B40-787775EBCBD7}"/>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925480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C2353EA2-D366-4F02-B08A-5FEED95BD9E3}"/>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94DA6CD5-251E-4DFA-B380-5EB213029465}"/>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85B917B-2B60-4988-B84F-D3AFCB1DD9D0}"/>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5" name="Espace réservé du pied de page 4">
            <a:extLst>
              <a:ext uri="{FF2B5EF4-FFF2-40B4-BE49-F238E27FC236}">
                <a16:creationId xmlns:a16="http://schemas.microsoft.com/office/drawing/2014/main" id="{9FB53DFA-3E34-4A01-A1E8-6D7B7445732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8A9D7E8-2346-4B4B-9CF9-1C67D6668CF8}"/>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15622623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Modifiez le style du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993914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3455445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340842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127795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1163619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42476182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7642420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622070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D533BA-64DD-46E7-AC37-8284A1B923A3}"/>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C5FA018E-EDA2-4960-8996-9D0F0B37136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1E258E7-ED34-4740-9A51-3EF63654899D}"/>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5" name="Espace réservé du pied de page 4">
            <a:extLst>
              <a:ext uri="{FF2B5EF4-FFF2-40B4-BE49-F238E27FC236}">
                <a16:creationId xmlns:a16="http://schemas.microsoft.com/office/drawing/2014/main" id="{FE4DA7DE-70E6-4FC4-AEB8-2B4A9102889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74F055B-A12A-40C8-913E-87AC2D74D609}"/>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16942643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3892949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9750211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73302334-7E8B-4320-A1E2-4B05AC15A670}" type="datetimeFigureOut">
              <a:rPr lang="fr-FR" smtClean="0"/>
              <a:pPr/>
              <a:t>30/04/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108582E2-60D7-40E7-AECB-CED9E7320F8D}" type="slidenum">
              <a:rPr lang="fr-FR" smtClean="0"/>
              <a:pPr/>
              <a:t>‹N°›</a:t>
            </a:fld>
            <a:endParaRPr lang="fr-FR"/>
          </a:p>
        </p:txBody>
      </p:sp>
    </p:spTree>
    <p:extLst>
      <p:ext uri="{BB962C8B-B14F-4D97-AF65-F5344CB8AC3E}">
        <p14:creationId xmlns:p14="http://schemas.microsoft.com/office/powerpoint/2010/main" val="25231673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fr-FR"/>
              <a:t>Modifiez le style du titre</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30/2021</a:t>
            </a:fld>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N°›</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950414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ncho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316567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fr-FR"/>
              <a:t>Modifiez le style du titre</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48A87A34-81AB-432B-8DAE-1953F412C126}" type="datetimeFigureOut">
              <a:rPr lang="en-US" dirty="0"/>
              <a:t>4/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1157063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fr-FR"/>
              <a:t>Modifiez le style du titre</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4326038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fr-FR"/>
              <a:t>Modifiez le style du titre</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1447191" y="2824269"/>
            <a:ext cx="4645152" cy="264445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6412362" y="2821491"/>
            <a:ext cx="4645152" cy="263737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30/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N°›</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0200117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30/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a:t>
            </a:fld>
            <a:endParaRPr lang="en-US" dirty="0"/>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0020639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30/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N°›</a:t>
            </a:fld>
            <a:endParaRPr lang="en-US" dirty="0"/>
          </a:p>
        </p:txBody>
      </p:sp>
    </p:spTree>
    <p:extLst>
      <p:ext uri="{BB962C8B-B14F-4D97-AF65-F5344CB8AC3E}">
        <p14:creationId xmlns:p14="http://schemas.microsoft.com/office/powerpoint/2010/main" val="2520840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A53301-5DB9-4753-ABD4-856DD5147A9D}"/>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86065A32-834F-432D-A0D3-7ECBC848C5A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A616BCDE-E203-48ED-B45F-9D93DC3EF895}"/>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5" name="Espace réservé du pied de page 4">
            <a:extLst>
              <a:ext uri="{FF2B5EF4-FFF2-40B4-BE49-F238E27FC236}">
                <a16:creationId xmlns:a16="http://schemas.microsoft.com/office/drawing/2014/main" id="{944B27C3-8E90-44EF-B2A0-1D4A9700A96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5169281-95B4-43D4-BD98-2009AB077C07}"/>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2686540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fr-FR"/>
              <a:t>Modifiez le style du titre</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48A87A34-81AB-432B-8DAE-1953F412C126}" type="datetimeFigureOut">
              <a:rPr lang="en-US" dirty="0"/>
              <a:t>4/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2802917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fr-FR"/>
              <a:t>Modifiez le style du titre</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pPr/>
              <a:t>4/30/2021</a:t>
            </a:fld>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365403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5537964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fr-FR"/>
              <a:t>Modifiez le style du titre</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a:t>
            </a:fld>
            <a:endParaRPr lang="en-US" dirty="0"/>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73670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3EE1FC-395B-4804-BCED-98B869CA372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D30819D-33A8-4726-B505-831ADB90F9E3}"/>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C727D8D7-37DF-475A-8F8B-107336CE7F12}"/>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626DA209-39AA-44B8-BA06-71668A7279E1}"/>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6" name="Espace réservé du pied de page 5">
            <a:extLst>
              <a:ext uri="{FF2B5EF4-FFF2-40B4-BE49-F238E27FC236}">
                <a16:creationId xmlns:a16="http://schemas.microsoft.com/office/drawing/2014/main" id="{3E701A22-5ACC-4505-9A5B-EFFCF1BEE098}"/>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A5BF9EC-FDAE-4527-A964-C32D4D885604}"/>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2672459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E377DA-C3AC-4A42-9312-85C3B28A1D8D}"/>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8EECFD34-CCC4-4C10-95D2-1DCC3D87556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4D248D42-AEE2-48BB-B8A6-37B3BF1EC785}"/>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EFF54CA6-B4B3-4EBE-BAA9-8A083AD04B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CB67F1B9-3210-4603-A593-82AA14779770}"/>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A4FE2936-F0AC-4E86-9BB9-6C88937F1738}"/>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8" name="Espace réservé du pied de page 7">
            <a:extLst>
              <a:ext uri="{FF2B5EF4-FFF2-40B4-BE49-F238E27FC236}">
                <a16:creationId xmlns:a16="http://schemas.microsoft.com/office/drawing/2014/main" id="{D4B4DA8C-4CAE-47BB-B5D8-D3CD8CA087DC}"/>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8F733564-54DF-4A81-A1E0-E16BDFCCC383}"/>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39856009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106E18-40BE-4CE6-A1DE-51E2FCB71EA4}"/>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CC9E90AC-A901-4B3B-8F1A-62F80383E911}"/>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4" name="Espace réservé du pied de page 3">
            <a:extLst>
              <a:ext uri="{FF2B5EF4-FFF2-40B4-BE49-F238E27FC236}">
                <a16:creationId xmlns:a16="http://schemas.microsoft.com/office/drawing/2014/main" id="{6B69960F-910E-441F-9234-4EFA03174979}"/>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6DEAD386-BAAD-4887-AEC1-ACEC7AC75072}"/>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30708421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EA3A60B-5261-4319-9606-C7A19FE79FFD}"/>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3" name="Espace réservé du pied de page 2">
            <a:extLst>
              <a:ext uri="{FF2B5EF4-FFF2-40B4-BE49-F238E27FC236}">
                <a16:creationId xmlns:a16="http://schemas.microsoft.com/office/drawing/2014/main" id="{7CD7E47D-E0D5-4EA3-A174-877281D1E4A2}"/>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BBBA8F0E-BF11-4E0E-B6B3-0C4D3ED9ADC8}"/>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409423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D5B282-2CDC-43BA-91BF-BB825DDC357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4B2B1462-82C2-41F9-B928-24CD0E058B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F8E6443F-D9C8-4B0A-A85E-AFB98C1784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E58546B2-B4AD-4632-A7F6-E278F595C80D}"/>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6" name="Espace réservé du pied de page 5">
            <a:extLst>
              <a:ext uri="{FF2B5EF4-FFF2-40B4-BE49-F238E27FC236}">
                <a16:creationId xmlns:a16="http://schemas.microsoft.com/office/drawing/2014/main" id="{F95E8C30-5617-4C3D-86F5-1BB6370D3806}"/>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698214D-67A4-4095-A830-2541FC31FF56}"/>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2731998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9969A8-DB1E-4329-86AA-AAC523FDA27F}"/>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47A97373-2753-4E91-A499-97DCFA713F0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4E0A5C63-7589-47D3-A6A8-2BAA1AA21C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6658AF3C-8B47-4456-B292-94827E8D0061}"/>
              </a:ext>
            </a:extLst>
          </p:cNvPr>
          <p:cNvSpPr>
            <a:spLocks noGrp="1"/>
          </p:cNvSpPr>
          <p:nvPr>
            <p:ph type="dt" sz="half" idx="10"/>
          </p:nvPr>
        </p:nvSpPr>
        <p:spPr/>
        <p:txBody>
          <a:bodyPr/>
          <a:lstStyle/>
          <a:p>
            <a:fld id="{B4AAC662-8F7E-46FF-BF45-54D2733F0C8C}" type="datetimeFigureOut">
              <a:rPr lang="fr-FR" smtClean="0"/>
              <a:t>30/04/2021</a:t>
            </a:fld>
            <a:endParaRPr lang="fr-FR"/>
          </a:p>
        </p:txBody>
      </p:sp>
      <p:sp>
        <p:nvSpPr>
          <p:cNvPr id="6" name="Espace réservé du pied de page 5">
            <a:extLst>
              <a:ext uri="{FF2B5EF4-FFF2-40B4-BE49-F238E27FC236}">
                <a16:creationId xmlns:a16="http://schemas.microsoft.com/office/drawing/2014/main" id="{CA94149C-1965-48BE-A21B-231EFD4799E7}"/>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C75B3F0F-B380-4E1B-AC33-1610717B8B29}"/>
              </a:ext>
            </a:extLst>
          </p:cNvPr>
          <p:cNvSpPr>
            <a:spLocks noGrp="1"/>
          </p:cNvSpPr>
          <p:nvPr>
            <p:ph type="sldNum" sz="quarter" idx="12"/>
          </p:nvPr>
        </p:nvSpPr>
        <p:spPr/>
        <p:txBody>
          <a:bodyPr/>
          <a:lstStyle/>
          <a:p>
            <a:fld id="{B70A9C33-773E-4B08-A2CE-4F0FB0936678}" type="slidenum">
              <a:rPr lang="fr-FR" smtClean="0"/>
              <a:t>‹N°›</a:t>
            </a:fld>
            <a:endParaRPr lang="fr-FR"/>
          </a:p>
        </p:txBody>
      </p:sp>
    </p:spTree>
    <p:extLst>
      <p:ext uri="{BB962C8B-B14F-4D97-AF65-F5344CB8AC3E}">
        <p14:creationId xmlns:p14="http://schemas.microsoft.com/office/powerpoint/2010/main" val="18355383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B24DAE3-D939-4C4D-88F9-662ED8E02C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0D21944-0B8F-4C3A-9BCA-D8EF26A831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5B3C1B60-F7FD-45E2-AFE6-969B7E482D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AAC662-8F7E-46FF-BF45-54D2733F0C8C}" type="datetimeFigureOut">
              <a:rPr lang="fr-FR" smtClean="0"/>
              <a:t>30/04/2021</a:t>
            </a:fld>
            <a:endParaRPr lang="fr-FR"/>
          </a:p>
        </p:txBody>
      </p:sp>
      <p:sp>
        <p:nvSpPr>
          <p:cNvPr id="5" name="Espace réservé du pied de page 4">
            <a:extLst>
              <a:ext uri="{FF2B5EF4-FFF2-40B4-BE49-F238E27FC236}">
                <a16:creationId xmlns:a16="http://schemas.microsoft.com/office/drawing/2014/main" id="{666FD234-03EA-4C46-8B22-CFC6DD2300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210ED5CD-B777-437E-B0F8-CFA32F5B355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0A9C33-773E-4B08-A2CE-4F0FB0936678}" type="slidenum">
              <a:rPr lang="fr-FR" smtClean="0"/>
              <a:t>‹N°›</a:t>
            </a:fld>
            <a:endParaRPr lang="fr-FR"/>
          </a:p>
        </p:txBody>
      </p:sp>
    </p:spTree>
    <p:extLst>
      <p:ext uri="{BB962C8B-B14F-4D97-AF65-F5344CB8AC3E}">
        <p14:creationId xmlns:p14="http://schemas.microsoft.com/office/powerpoint/2010/main" val="39818148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a:t>Cliquez pour modifier le style du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302334-7E8B-4320-A1E2-4B05AC15A670}" type="datetimeFigureOut">
              <a:rPr lang="fr-FR" smtClean="0"/>
              <a:pPr/>
              <a:t>30/04/2021</a:t>
            </a:fld>
            <a:endParaRPr lang="fr-FR"/>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8582E2-60D7-40E7-AECB-CED9E7320F8D}" type="slidenum">
              <a:rPr lang="fr-FR" smtClean="0"/>
              <a:pPr/>
              <a:t>‹N°›</a:t>
            </a:fld>
            <a:endParaRPr lang="fr-FR"/>
          </a:p>
        </p:txBody>
      </p:sp>
    </p:spTree>
    <p:extLst>
      <p:ext uri="{BB962C8B-B14F-4D97-AF65-F5344CB8AC3E}">
        <p14:creationId xmlns:p14="http://schemas.microsoft.com/office/powerpoint/2010/main" val="17772646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fr-FR"/>
              <a:t>Modifiez le style du titre</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pPr/>
              <a:t>4/30/2021</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pPr/>
              <a:t>‹N°›</a:t>
            </a:fld>
            <a:endParaRPr lang="en-US" dirty="0"/>
          </a:p>
        </p:txBody>
      </p:sp>
      <p:cxnSp>
        <p:nvCxnSpPr>
          <p:cNvPr id="10" name="Straight Connector 9"/>
          <p:cNvCxnSpPr/>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678627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hyperlink" Target="https://espritscience.blogspot.com/2008/01/du-rapport-des-temps.html" TargetMode="External"/><Relationship Id="rId4" Type="http://schemas.openxmlformats.org/officeDocument/2006/relationships/image" Target="../media/image7.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hyperlink" Target="https://www.infirmiers.com/votre-carriere/ide-liberale/la-comptabilite-infirmier-liberal-pourquoi-ne-pas-externaliser.html" TargetMode="External"/><Relationship Id="rId4" Type="http://schemas.openxmlformats.org/officeDocument/2006/relationships/image" Target="../media/image3.jpg"/></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09AF2F-022D-42E7-9EE8-B11BCE898DAB}"/>
              </a:ext>
            </a:extLst>
          </p:cNvPr>
          <p:cNvSpPr>
            <a:spLocks noGrp="1"/>
          </p:cNvSpPr>
          <p:nvPr>
            <p:ph type="ctrTitle"/>
          </p:nvPr>
        </p:nvSpPr>
        <p:spPr>
          <a:xfrm>
            <a:off x="7464614" y="1783959"/>
            <a:ext cx="4087306" cy="2889114"/>
          </a:xfrm>
        </p:spPr>
        <p:txBody>
          <a:bodyPr anchor="b">
            <a:normAutofit fontScale="90000"/>
          </a:bodyPr>
          <a:lstStyle/>
          <a:p>
            <a:pPr algn="l"/>
            <a:r>
              <a:rPr lang="fr-FR" sz="5400" dirty="0">
                <a:latin typeface="Arial" panose="020B0604020202020204" pitchFamily="34" charset="0"/>
                <a:cs typeface="Arial" panose="020B0604020202020204" pitchFamily="34" charset="0"/>
              </a:rPr>
              <a:t>Université de Montpellier</a:t>
            </a:r>
            <a:br>
              <a:rPr lang="fr-FR" sz="5400" dirty="0"/>
            </a:br>
            <a:endParaRPr lang="fr-FR" sz="5400" dirty="0"/>
          </a:p>
        </p:txBody>
      </p:sp>
      <p:sp>
        <p:nvSpPr>
          <p:cNvPr id="3" name="Sous-titre 2">
            <a:extLst>
              <a:ext uri="{FF2B5EF4-FFF2-40B4-BE49-F238E27FC236}">
                <a16:creationId xmlns:a16="http://schemas.microsoft.com/office/drawing/2014/main" id="{21349F9F-31B4-41DC-B4DB-C097467B5266}"/>
              </a:ext>
            </a:extLst>
          </p:cNvPr>
          <p:cNvSpPr>
            <a:spLocks noGrp="1"/>
          </p:cNvSpPr>
          <p:nvPr>
            <p:ph type="subTitle" idx="1"/>
          </p:nvPr>
        </p:nvSpPr>
        <p:spPr>
          <a:xfrm>
            <a:off x="7464612" y="4750893"/>
            <a:ext cx="4489965" cy="1147863"/>
          </a:xfrm>
        </p:spPr>
        <p:txBody>
          <a:bodyPr anchor="t">
            <a:normAutofit fontScale="70000" lnSpcReduction="20000"/>
          </a:bodyPr>
          <a:lstStyle/>
          <a:p>
            <a:pPr algn="l"/>
            <a:endParaRPr lang="fr-FR" sz="2000" dirty="0"/>
          </a:p>
          <a:p>
            <a:pPr algn="l"/>
            <a:r>
              <a:rPr lang="fr-FR" sz="4000" dirty="0">
                <a:latin typeface="Arial" panose="020B0604020202020204" pitchFamily="34" charset="0"/>
                <a:cs typeface="Arial" panose="020B0604020202020204" pitchFamily="34" charset="0"/>
              </a:rPr>
              <a:t>Cours de comptabilité</a:t>
            </a:r>
          </a:p>
          <a:p>
            <a:pPr algn="l"/>
            <a:r>
              <a:rPr lang="fr-FR" sz="4000" dirty="0">
                <a:latin typeface="Arial" panose="020B0604020202020204" pitchFamily="34" charset="0"/>
                <a:cs typeface="Arial" panose="020B0604020202020204" pitchFamily="34" charset="0"/>
              </a:rPr>
              <a:t>30 avril 2021</a:t>
            </a:r>
          </a:p>
        </p:txBody>
      </p:sp>
      <p:sp>
        <p:nvSpPr>
          <p:cNvPr id="9" name="Freeform: Shape 8">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Bibliothèque publique floue abstraite avec des étagères à livres">
            <a:extLst>
              <a:ext uri="{FF2B5EF4-FFF2-40B4-BE49-F238E27FC236}">
                <a16:creationId xmlns:a16="http://schemas.microsoft.com/office/drawing/2014/main" id="{7BB6D41E-7376-4805-B0B6-C72AFA381B66}"/>
              </a:ext>
            </a:extLst>
          </p:cNvPr>
          <p:cNvPicPr>
            <a:picLocks noChangeAspect="1"/>
          </p:cNvPicPr>
          <p:nvPr/>
        </p:nvPicPr>
        <p:blipFill rotWithShape="1">
          <a:blip r:embed="rId3"/>
          <a:srcRect l="4625" r="26964"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3848639155"/>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41644713-AF21-4543-94FE-A96FEBAA2B11}"/>
              </a:ext>
            </a:extLst>
          </p:cNvPr>
          <p:cNvSpPr>
            <a:spLocks noGrp="1"/>
          </p:cNvSpPr>
          <p:nvPr>
            <p:ph type="title"/>
          </p:nvPr>
        </p:nvSpPr>
        <p:spPr>
          <a:xfrm>
            <a:off x="798990" y="473547"/>
            <a:ext cx="8074815" cy="1618489"/>
          </a:xfrm>
        </p:spPr>
        <p:txBody>
          <a:bodyPr vert="horz" lIns="91440" tIns="45720" rIns="91440" bIns="45720" rtlCol="0" anchor="ctr">
            <a:normAutofit fontScale="90000"/>
          </a:bodyPr>
          <a:lstStyle/>
          <a:p>
            <a:r>
              <a:rPr lang="en-US" sz="7200" kern="1200" dirty="0" err="1">
                <a:latin typeface="+mj-lt"/>
                <a:ea typeface="+mj-ea"/>
                <a:cs typeface="+mj-cs"/>
              </a:rPr>
              <a:t>Exemple</a:t>
            </a:r>
            <a:r>
              <a:rPr lang="en-US" sz="7200" kern="1200" dirty="0">
                <a:latin typeface="+mj-lt"/>
                <a:ea typeface="+mj-ea"/>
                <a:cs typeface="+mj-cs"/>
              </a:rPr>
              <a:t> – Au 31/12/N</a:t>
            </a:r>
          </a:p>
        </p:txBody>
      </p:sp>
      <p:graphicFrame>
        <p:nvGraphicFramePr>
          <p:cNvPr id="4" name="Tableau 3">
            <a:extLst>
              <a:ext uri="{FF2B5EF4-FFF2-40B4-BE49-F238E27FC236}">
                <a16:creationId xmlns:a16="http://schemas.microsoft.com/office/drawing/2014/main" id="{DED4966F-E2DC-47D2-8406-77E6764A6DB7}"/>
              </a:ext>
            </a:extLst>
          </p:cNvPr>
          <p:cNvGraphicFramePr>
            <a:graphicFrameLocks noGrp="1"/>
          </p:cNvGraphicFramePr>
          <p:nvPr>
            <p:extLst>
              <p:ext uri="{D42A27DB-BD31-4B8C-83A1-F6EECF244321}">
                <p14:modId xmlns:p14="http://schemas.microsoft.com/office/powerpoint/2010/main" val="3638256430"/>
              </p:ext>
            </p:extLst>
          </p:nvPr>
        </p:nvGraphicFramePr>
        <p:xfrm>
          <a:off x="798990" y="2241764"/>
          <a:ext cx="10635449" cy="2576168"/>
        </p:xfrm>
        <a:graphic>
          <a:graphicData uri="http://schemas.openxmlformats.org/drawingml/2006/table">
            <a:tbl>
              <a:tblPr/>
              <a:tblGrid>
                <a:gridCol w="869725">
                  <a:extLst>
                    <a:ext uri="{9D8B030D-6E8A-4147-A177-3AD203B41FA5}">
                      <a16:colId xmlns:a16="http://schemas.microsoft.com/office/drawing/2014/main" val="3533520684"/>
                    </a:ext>
                  </a:extLst>
                </a:gridCol>
                <a:gridCol w="6138467">
                  <a:extLst>
                    <a:ext uri="{9D8B030D-6E8A-4147-A177-3AD203B41FA5}">
                      <a16:colId xmlns:a16="http://schemas.microsoft.com/office/drawing/2014/main" val="3683709775"/>
                    </a:ext>
                  </a:extLst>
                </a:gridCol>
                <a:gridCol w="1535454">
                  <a:extLst>
                    <a:ext uri="{9D8B030D-6E8A-4147-A177-3AD203B41FA5}">
                      <a16:colId xmlns:a16="http://schemas.microsoft.com/office/drawing/2014/main" val="2303002425"/>
                    </a:ext>
                  </a:extLst>
                </a:gridCol>
                <a:gridCol w="2091803">
                  <a:extLst>
                    <a:ext uri="{9D8B030D-6E8A-4147-A177-3AD203B41FA5}">
                      <a16:colId xmlns:a16="http://schemas.microsoft.com/office/drawing/2014/main" val="3746661263"/>
                    </a:ext>
                  </a:extLst>
                </a:gridCol>
              </a:tblGrid>
              <a:tr h="1288084">
                <a:tc>
                  <a:txBody>
                    <a:bodyPr/>
                    <a:lstStyle/>
                    <a:p>
                      <a:pPr algn="l"/>
                      <a:r>
                        <a:rPr lang="fr-FR" sz="1800" dirty="0">
                          <a:effectLst/>
                          <a:latin typeface="Verdana" panose="020B0604030504040204" pitchFamily="34" charset="0"/>
                          <a:ea typeface="Times New Roman" panose="02020603050405020304" pitchFamily="18" charset="0"/>
                          <a:cs typeface="Times New Roman" panose="02020603050405020304" pitchFamily="18" charset="0"/>
                        </a:rPr>
                        <a:t>68112</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a:r>
                        <a:rPr lang="fr-FR" sz="1800" dirty="0">
                          <a:effectLst/>
                          <a:latin typeface="Verdana" panose="020B0604030504040204" pitchFamily="34" charset="0"/>
                          <a:ea typeface="Times New Roman" panose="02020603050405020304" pitchFamily="18" charset="0"/>
                          <a:cs typeface="Times New Roman" panose="02020603050405020304" pitchFamily="18" charset="0"/>
                        </a:rPr>
                        <a:t> Dotation aux amortissements</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a:r>
                        <a:rPr lang="fr-FR" sz="1800" dirty="0">
                          <a:effectLst/>
                          <a:highlight>
                            <a:srgbClr val="FFFF00"/>
                          </a:highlight>
                          <a:latin typeface="Verdana" panose="020B0604030504040204" pitchFamily="34" charset="0"/>
                          <a:ea typeface="Times New Roman" panose="02020603050405020304" pitchFamily="18" charset="0"/>
                          <a:cs typeface="Times New Roman" panose="02020603050405020304" pitchFamily="18" charset="0"/>
                        </a:rPr>
                        <a:t>1 312,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a:r>
                        <a:rPr lang="fr-FR" sz="1800" dirty="0">
                          <a:effectLst/>
                          <a:latin typeface="Verdana" panose="020B0604030504040204" pitchFamily="34" charset="0"/>
                          <a:ea typeface="Times New Roman" panose="02020603050405020304" pitchFamily="18" charset="0"/>
                          <a:cs typeface="Times New Roman" panose="02020603050405020304" pitchFamily="18" charset="0"/>
                        </a:rPr>
                        <a:t> </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187800175"/>
                  </a:ext>
                </a:extLst>
              </a:tr>
              <a:tr h="1288084">
                <a:tc>
                  <a:txBody>
                    <a:bodyPr/>
                    <a:lstStyle/>
                    <a:p>
                      <a:pPr algn="l"/>
                      <a:r>
                        <a:rPr lang="fr-FR" sz="1800" dirty="0">
                          <a:effectLst/>
                          <a:latin typeface="Verdana" panose="020B0604030504040204" pitchFamily="34" charset="0"/>
                          <a:ea typeface="Times New Roman" panose="02020603050405020304" pitchFamily="18" charset="0"/>
                          <a:cs typeface="Times New Roman" panose="02020603050405020304" pitchFamily="18" charset="0"/>
                        </a:rPr>
                        <a:t>2818</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a:r>
                        <a:rPr lang="fr-FR" sz="1800" dirty="0">
                          <a:effectLst/>
                          <a:latin typeface="Verdana" panose="020B0604030504040204" pitchFamily="34" charset="0"/>
                          <a:ea typeface="Times New Roman" panose="02020603050405020304" pitchFamily="18" charset="0"/>
                          <a:cs typeface="Times New Roman" panose="02020603050405020304" pitchFamily="18" charset="0"/>
                        </a:rPr>
                        <a:t>Amortissement des matériel et outillage</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a:r>
                        <a:rPr lang="fr-FR" sz="1800">
                          <a:effectLst/>
                          <a:latin typeface="Verdana" panose="020B0604030504040204" pitchFamily="34" charset="0"/>
                          <a:ea typeface="Times New Roman" panose="02020603050405020304" pitchFamily="18" charset="0"/>
                          <a:cs typeface="Times New Roman" panose="02020603050405020304" pitchFamily="18" charset="0"/>
                        </a:rPr>
                        <a:t> </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a:r>
                        <a:rPr lang="fr-FR" sz="1800" dirty="0">
                          <a:effectLst/>
                          <a:latin typeface="Verdana" panose="020B0604030504040204" pitchFamily="34" charset="0"/>
                          <a:ea typeface="Times New Roman" panose="02020603050405020304" pitchFamily="18" charset="0"/>
                          <a:cs typeface="Times New Roman" panose="02020603050405020304" pitchFamily="18" charset="0"/>
                        </a:rPr>
                        <a:t>1 312,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0208070"/>
                  </a:ext>
                </a:extLst>
              </a:tr>
            </a:tbl>
          </a:graphicData>
        </a:graphic>
      </p:graphicFrame>
    </p:spTree>
    <p:extLst>
      <p:ext uri="{BB962C8B-B14F-4D97-AF65-F5344CB8AC3E}">
        <p14:creationId xmlns:p14="http://schemas.microsoft.com/office/powerpoint/2010/main" val="145373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41644713-AF21-4543-94FE-A96FEBAA2B11}"/>
              </a:ext>
            </a:extLst>
          </p:cNvPr>
          <p:cNvSpPr>
            <a:spLocks noGrp="1"/>
          </p:cNvSpPr>
          <p:nvPr>
            <p:ph type="title"/>
          </p:nvPr>
        </p:nvSpPr>
        <p:spPr>
          <a:xfrm>
            <a:off x="798990" y="473547"/>
            <a:ext cx="10457031" cy="1618489"/>
          </a:xfrm>
        </p:spPr>
        <p:txBody>
          <a:bodyPr vert="horz" lIns="91440" tIns="45720" rIns="91440" bIns="45720" rtlCol="0" anchor="ctr">
            <a:normAutofit/>
          </a:bodyPr>
          <a:lstStyle/>
          <a:p>
            <a:r>
              <a:rPr lang="en-US" sz="7200" kern="1200" dirty="0" err="1">
                <a:latin typeface="+mj-lt"/>
                <a:ea typeface="+mj-ea"/>
                <a:cs typeface="+mj-cs"/>
              </a:rPr>
              <a:t>Exemple</a:t>
            </a:r>
            <a:r>
              <a:rPr lang="en-US" sz="7200" kern="1200" dirty="0">
                <a:latin typeface="+mj-lt"/>
                <a:ea typeface="+mj-ea"/>
                <a:cs typeface="+mj-cs"/>
              </a:rPr>
              <a:t> – Au 31/12/N+1</a:t>
            </a:r>
          </a:p>
        </p:txBody>
      </p:sp>
      <p:graphicFrame>
        <p:nvGraphicFramePr>
          <p:cNvPr id="4" name="Tableau 3">
            <a:extLst>
              <a:ext uri="{FF2B5EF4-FFF2-40B4-BE49-F238E27FC236}">
                <a16:creationId xmlns:a16="http://schemas.microsoft.com/office/drawing/2014/main" id="{DED4966F-E2DC-47D2-8406-77E6764A6DB7}"/>
              </a:ext>
            </a:extLst>
          </p:cNvPr>
          <p:cNvGraphicFramePr>
            <a:graphicFrameLocks noGrp="1"/>
          </p:cNvGraphicFramePr>
          <p:nvPr>
            <p:extLst>
              <p:ext uri="{D42A27DB-BD31-4B8C-83A1-F6EECF244321}">
                <p14:modId xmlns:p14="http://schemas.microsoft.com/office/powerpoint/2010/main" val="3207711872"/>
              </p:ext>
            </p:extLst>
          </p:nvPr>
        </p:nvGraphicFramePr>
        <p:xfrm>
          <a:off x="798990" y="2241764"/>
          <a:ext cx="10635449" cy="2576168"/>
        </p:xfrm>
        <a:graphic>
          <a:graphicData uri="http://schemas.openxmlformats.org/drawingml/2006/table">
            <a:tbl>
              <a:tblPr/>
              <a:tblGrid>
                <a:gridCol w="869725">
                  <a:extLst>
                    <a:ext uri="{9D8B030D-6E8A-4147-A177-3AD203B41FA5}">
                      <a16:colId xmlns:a16="http://schemas.microsoft.com/office/drawing/2014/main" val="3533520684"/>
                    </a:ext>
                  </a:extLst>
                </a:gridCol>
                <a:gridCol w="6138467">
                  <a:extLst>
                    <a:ext uri="{9D8B030D-6E8A-4147-A177-3AD203B41FA5}">
                      <a16:colId xmlns:a16="http://schemas.microsoft.com/office/drawing/2014/main" val="3683709775"/>
                    </a:ext>
                  </a:extLst>
                </a:gridCol>
                <a:gridCol w="1535454">
                  <a:extLst>
                    <a:ext uri="{9D8B030D-6E8A-4147-A177-3AD203B41FA5}">
                      <a16:colId xmlns:a16="http://schemas.microsoft.com/office/drawing/2014/main" val="2303002425"/>
                    </a:ext>
                  </a:extLst>
                </a:gridCol>
                <a:gridCol w="2091803">
                  <a:extLst>
                    <a:ext uri="{9D8B030D-6E8A-4147-A177-3AD203B41FA5}">
                      <a16:colId xmlns:a16="http://schemas.microsoft.com/office/drawing/2014/main" val="3746661263"/>
                    </a:ext>
                  </a:extLst>
                </a:gridCol>
              </a:tblGrid>
              <a:tr h="1288084">
                <a:tc>
                  <a:txBody>
                    <a:bodyPr/>
                    <a:lstStyle/>
                    <a:p>
                      <a:pPr algn="l"/>
                      <a:r>
                        <a:rPr lang="fr-FR" sz="1800" dirty="0">
                          <a:effectLst/>
                          <a:latin typeface="Verdana" panose="020B0604030504040204" pitchFamily="34" charset="0"/>
                          <a:ea typeface="Times New Roman" panose="02020603050405020304" pitchFamily="18" charset="0"/>
                          <a:cs typeface="Times New Roman" panose="02020603050405020304" pitchFamily="18" charset="0"/>
                        </a:rPr>
                        <a:t>68112</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a:r>
                        <a:rPr lang="fr-FR" sz="1800" dirty="0">
                          <a:effectLst/>
                          <a:latin typeface="Verdana" panose="020B0604030504040204" pitchFamily="34" charset="0"/>
                          <a:ea typeface="Times New Roman" panose="02020603050405020304" pitchFamily="18" charset="0"/>
                          <a:cs typeface="Times New Roman" panose="02020603050405020304" pitchFamily="18" charset="0"/>
                        </a:rPr>
                        <a:t> Dotation aux amortissements</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a:r>
                        <a:rPr lang="fr-FR" sz="1800" dirty="0">
                          <a:effectLst/>
                          <a:highlight>
                            <a:srgbClr val="00FF00"/>
                          </a:highlight>
                          <a:latin typeface="Verdana" panose="020B0604030504040204" pitchFamily="34" charset="0"/>
                          <a:ea typeface="Times New Roman" panose="02020603050405020304" pitchFamily="18" charset="0"/>
                          <a:cs typeface="Times New Roman" panose="02020603050405020304" pitchFamily="18" charset="0"/>
                        </a:rPr>
                        <a:t>4 5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a:r>
                        <a:rPr lang="fr-FR" sz="1800" dirty="0">
                          <a:effectLst/>
                          <a:latin typeface="Verdana" panose="020B0604030504040204" pitchFamily="34" charset="0"/>
                          <a:ea typeface="Times New Roman" panose="02020603050405020304" pitchFamily="18" charset="0"/>
                          <a:cs typeface="Times New Roman" panose="02020603050405020304" pitchFamily="18" charset="0"/>
                        </a:rPr>
                        <a:t> </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187800175"/>
                  </a:ext>
                </a:extLst>
              </a:tr>
              <a:tr h="1288084">
                <a:tc>
                  <a:txBody>
                    <a:bodyPr/>
                    <a:lstStyle/>
                    <a:p>
                      <a:pPr algn="l"/>
                      <a:r>
                        <a:rPr lang="fr-FR" sz="1800" dirty="0">
                          <a:effectLst/>
                          <a:latin typeface="Verdana" panose="020B0604030504040204" pitchFamily="34" charset="0"/>
                          <a:ea typeface="Times New Roman" panose="02020603050405020304" pitchFamily="18" charset="0"/>
                          <a:cs typeface="Times New Roman" panose="02020603050405020304" pitchFamily="18" charset="0"/>
                        </a:rPr>
                        <a:t>2818</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a:r>
                        <a:rPr lang="fr-FR" sz="1800" dirty="0">
                          <a:effectLst/>
                          <a:latin typeface="Verdana" panose="020B0604030504040204" pitchFamily="34" charset="0"/>
                          <a:ea typeface="Times New Roman" panose="02020603050405020304" pitchFamily="18" charset="0"/>
                          <a:cs typeface="Times New Roman" panose="02020603050405020304" pitchFamily="18" charset="0"/>
                        </a:rPr>
                        <a:t>Amortissement des matériel et outillage</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a:r>
                        <a:rPr lang="fr-FR" sz="1800">
                          <a:effectLst/>
                          <a:latin typeface="Verdana" panose="020B0604030504040204" pitchFamily="34" charset="0"/>
                          <a:ea typeface="Times New Roman" panose="02020603050405020304" pitchFamily="18" charset="0"/>
                          <a:cs typeface="Times New Roman" panose="02020603050405020304" pitchFamily="18" charset="0"/>
                        </a:rPr>
                        <a:t> </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a:r>
                        <a:rPr lang="fr-FR" sz="1800" dirty="0">
                          <a:effectLst/>
                          <a:latin typeface="Verdana" panose="020B0604030504040204" pitchFamily="34" charset="0"/>
                          <a:ea typeface="Times New Roman" panose="02020603050405020304" pitchFamily="18" charset="0"/>
                          <a:cs typeface="Times New Roman" panose="02020603050405020304" pitchFamily="18" charset="0"/>
                        </a:rPr>
                        <a:t>4 5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0208070"/>
                  </a:ext>
                </a:extLst>
              </a:tr>
            </a:tbl>
          </a:graphicData>
        </a:graphic>
      </p:graphicFrame>
    </p:spTree>
    <p:extLst>
      <p:ext uri="{BB962C8B-B14F-4D97-AF65-F5344CB8AC3E}">
        <p14:creationId xmlns:p14="http://schemas.microsoft.com/office/powerpoint/2010/main" val="2243511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3E443FD7-A66B-4AA0-872D-B088B9BC5F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AB4BD8A2-5C77-4F6B-ACB6-AB917A0C0D72}"/>
              </a:ext>
            </a:extLst>
          </p:cNvPr>
          <p:cNvSpPr>
            <a:spLocks noGrp="1"/>
          </p:cNvSpPr>
          <p:nvPr>
            <p:ph type="title"/>
          </p:nvPr>
        </p:nvSpPr>
        <p:spPr>
          <a:xfrm>
            <a:off x="1094095" y="851517"/>
            <a:ext cx="5238466" cy="2991416"/>
          </a:xfrm>
        </p:spPr>
        <p:txBody>
          <a:bodyPr vert="horz" lIns="91440" tIns="45720" rIns="91440" bIns="45720" rtlCol="0" anchor="b">
            <a:normAutofit/>
          </a:bodyPr>
          <a:lstStyle/>
          <a:p>
            <a:r>
              <a:rPr lang="en-US" sz="6000" dirty="0" err="1"/>
              <a:t>Ecriture</a:t>
            </a:r>
            <a:r>
              <a:rPr lang="en-US" sz="6000" dirty="0"/>
              <a:t> </a:t>
            </a:r>
            <a:r>
              <a:rPr lang="en-US" sz="6000" dirty="0" err="1"/>
              <a:t>d’inventaire</a:t>
            </a:r>
            <a:r>
              <a:rPr lang="en-US" sz="6000" dirty="0"/>
              <a:t> et revisions</a:t>
            </a:r>
            <a:endParaRPr lang="en-US" sz="6000" kern="1200" dirty="0">
              <a:solidFill>
                <a:schemeClr val="tx1"/>
              </a:solidFill>
              <a:latin typeface="+mj-lt"/>
              <a:ea typeface="+mj-ea"/>
              <a:cs typeface="+mj-cs"/>
            </a:endParaRPr>
          </a:p>
        </p:txBody>
      </p:sp>
      <p:sp>
        <p:nvSpPr>
          <p:cNvPr id="3" name="Espace réservé du contenu 2">
            <a:extLst>
              <a:ext uri="{FF2B5EF4-FFF2-40B4-BE49-F238E27FC236}">
                <a16:creationId xmlns:a16="http://schemas.microsoft.com/office/drawing/2014/main" id="{667BC496-97F0-4F08-B182-396A614F80AF}"/>
              </a:ext>
            </a:extLst>
          </p:cNvPr>
          <p:cNvSpPr>
            <a:spLocks noGrp="1"/>
          </p:cNvSpPr>
          <p:nvPr>
            <p:ph idx="1"/>
          </p:nvPr>
        </p:nvSpPr>
        <p:spPr>
          <a:xfrm>
            <a:off x="1094096" y="3842932"/>
            <a:ext cx="4167115" cy="2163551"/>
          </a:xfrm>
        </p:spPr>
        <p:txBody>
          <a:bodyPr vert="horz" lIns="91440" tIns="45720" rIns="91440" bIns="45720" rtlCol="0" anchor="t">
            <a:normAutofit/>
          </a:bodyPr>
          <a:lstStyle/>
          <a:p>
            <a:pPr marL="0" indent="0">
              <a:buNone/>
            </a:pPr>
            <a:endParaRPr lang="en-US" sz="4400" kern="1200" dirty="0">
              <a:solidFill>
                <a:schemeClr val="tx1"/>
              </a:solidFill>
              <a:latin typeface="+mn-lt"/>
              <a:ea typeface="+mn-ea"/>
              <a:cs typeface="+mn-cs"/>
            </a:endParaRPr>
          </a:p>
        </p:txBody>
      </p:sp>
      <p:sp>
        <p:nvSpPr>
          <p:cNvPr id="17" name="Freeform: Shape 16">
            <a:extLst>
              <a:ext uri="{FF2B5EF4-FFF2-40B4-BE49-F238E27FC236}">
                <a16:creationId xmlns:a16="http://schemas.microsoft.com/office/drawing/2014/main" id="{C04BE0EF-3561-49B4-9A29-F283168A9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0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3 h 5154967"/>
              <a:gd name="connsiteX37" fmla="*/ 1625714 w 6184806"/>
              <a:gd name="connsiteY37" fmla="*/ 109243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2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0"/>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3"/>
                  <a:pt x="2445216" y="109243"/>
                </a:cubicBezTo>
                <a:cubicBezTo>
                  <a:pt x="1625714" y="109243"/>
                  <a:pt x="1625714" y="109243"/>
                  <a:pt x="1625714" y="109243"/>
                </a:cubicBezTo>
                <a:cubicBezTo>
                  <a:pt x="1572615" y="109243"/>
                  <a:pt x="1524825" y="137459"/>
                  <a:pt x="1498276" y="183309"/>
                </a:cubicBezTo>
                <a:cubicBezTo>
                  <a:pt x="1089410" y="890450"/>
                  <a:pt x="1089410" y="890450"/>
                  <a:pt x="1089410" y="890450"/>
                </a:cubicBezTo>
                <a:cubicBezTo>
                  <a:pt x="1062860" y="934537"/>
                  <a:pt x="1062860" y="990967"/>
                  <a:pt x="1089410" y="1035054"/>
                </a:cubicBezTo>
                <a:cubicBezTo>
                  <a:pt x="1498276" y="1742196"/>
                  <a:pt x="1498276" y="1742196"/>
                  <a:pt x="1498276" y="1742196"/>
                </a:cubicBezTo>
                <a:cubicBezTo>
                  <a:pt x="1511551" y="1765121"/>
                  <a:pt x="1530135" y="1783637"/>
                  <a:pt x="1552039" y="1796422"/>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Graphic 6" descr="Coche">
            <a:extLst>
              <a:ext uri="{FF2B5EF4-FFF2-40B4-BE49-F238E27FC236}">
                <a16:creationId xmlns:a16="http://schemas.microsoft.com/office/drawing/2014/main" id="{E889F2CB-776F-4113-951A-136AF7AF2BD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31503" y="2129307"/>
            <a:ext cx="3217333" cy="3217333"/>
          </a:xfrm>
          <a:prstGeom prst="rect">
            <a:avLst/>
          </a:prstGeom>
        </p:spPr>
      </p:pic>
    </p:spTree>
    <p:extLst>
      <p:ext uri="{BB962C8B-B14F-4D97-AF65-F5344CB8AC3E}">
        <p14:creationId xmlns:p14="http://schemas.microsoft.com/office/powerpoint/2010/main" val="31880891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61257BC-1DB9-4073-BB61-2CD75AECF7B4}"/>
              </a:ext>
            </a:extLst>
          </p:cNvPr>
          <p:cNvSpPr>
            <a:spLocks noGrp="1"/>
          </p:cNvSpPr>
          <p:nvPr>
            <p:ph type="title"/>
          </p:nvPr>
        </p:nvSpPr>
        <p:spPr/>
        <p:txBody>
          <a:bodyPr/>
          <a:lstStyle/>
          <a:p>
            <a:r>
              <a:rPr lang="fr-FR"/>
              <a:t>Cas Inventaire</a:t>
            </a:r>
            <a:endParaRPr lang="fr-FR" dirty="0"/>
          </a:p>
        </p:txBody>
      </p:sp>
      <p:sp>
        <p:nvSpPr>
          <p:cNvPr id="3" name="Espace réservé du contenu 2">
            <a:extLst>
              <a:ext uri="{FF2B5EF4-FFF2-40B4-BE49-F238E27FC236}">
                <a16:creationId xmlns:a16="http://schemas.microsoft.com/office/drawing/2014/main" id="{FF6A070E-C184-4B6A-B920-427CE400FDE0}"/>
              </a:ext>
            </a:extLst>
          </p:cNvPr>
          <p:cNvSpPr>
            <a:spLocks noGrp="1"/>
          </p:cNvSpPr>
          <p:nvPr>
            <p:ph idx="1"/>
          </p:nvPr>
        </p:nvSpPr>
        <p:spPr/>
        <p:txBody>
          <a:bodyPr>
            <a:normAutofit/>
          </a:bodyPr>
          <a:lstStyle/>
          <a:p>
            <a:pPr algn="just"/>
            <a:r>
              <a:rPr lang="fr-FR" dirty="0">
                <a:effectLst/>
                <a:latin typeface="Calibri" panose="020F0502020204030204" pitchFamily="34" charset="0"/>
                <a:ea typeface="Times New Roman" panose="02020603050405020304" pitchFamily="18" charset="0"/>
              </a:rPr>
              <a:t>La société CARO, spécialisée dans la pose d’éléments photovoltaïques, a réalisé les opérations suivantes en 2019 et 2020 :</a:t>
            </a:r>
            <a:endParaRPr lang="fr-FR" dirty="0">
              <a:effectLst/>
              <a:latin typeface="Times New Roman" panose="02020603050405020304" pitchFamily="18" charset="0"/>
              <a:ea typeface="Times New Roman" panose="02020603050405020304" pitchFamily="18" charset="0"/>
            </a:endParaRPr>
          </a:p>
          <a:p>
            <a:pPr indent="449580" algn="just"/>
            <a:r>
              <a:rPr lang="fr-FR" dirty="0">
                <a:effectLst/>
                <a:latin typeface="Calibri" panose="020F0502020204030204" pitchFamily="34" charset="0"/>
                <a:ea typeface="Times New Roman" panose="02020603050405020304" pitchFamily="18" charset="0"/>
              </a:rPr>
              <a:t>1) Livraison en décembre 2019 de marchandises pour 4 500 € HT, la facture est parvenue le 12 janvier 2020 </a:t>
            </a:r>
            <a:endParaRPr lang="fr-FR" dirty="0">
              <a:effectLst/>
              <a:latin typeface="Times New Roman" panose="02020603050405020304" pitchFamily="18" charset="0"/>
              <a:ea typeface="Times New Roman" panose="02020603050405020304" pitchFamily="18" charset="0"/>
            </a:endParaRPr>
          </a:p>
          <a:p>
            <a:pPr indent="449580" algn="just"/>
            <a:r>
              <a:rPr lang="fr-FR" dirty="0">
                <a:effectLst/>
                <a:latin typeface="Calibri" panose="020F0502020204030204" pitchFamily="34" charset="0"/>
                <a:ea typeface="Times New Roman" panose="02020603050405020304" pitchFamily="18" charset="0"/>
              </a:rPr>
              <a:t>2) Règlement le 1/10/2019 de la prime d’assurance décennale annuelle qui s’élève à 9 600 €, payable d’avance. </a:t>
            </a:r>
            <a:endParaRPr lang="fr-FR" dirty="0">
              <a:effectLst/>
              <a:latin typeface="Times New Roman" panose="02020603050405020304" pitchFamily="18" charset="0"/>
              <a:ea typeface="Times New Roman" panose="02020603050405020304" pitchFamily="18" charset="0"/>
            </a:endParaRPr>
          </a:p>
          <a:p>
            <a:pPr indent="449580" algn="just"/>
            <a:r>
              <a:rPr lang="fr-FR" dirty="0">
                <a:effectLst/>
                <a:latin typeface="Calibri" panose="020F0502020204030204" pitchFamily="34" charset="0"/>
                <a:ea typeface="Times New Roman" panose="02020603050405020304" pitchFamily="18" charset="0"/>
              </a:rPr>
              <a:t>3) La facture des honoraires du cabinet d’expertise comptable est arrivée le 22 janvier 2020. Elle est datée du 22 janvier et concerne la période 2019, pour 3 200,00 € HT</a:t>
            </a:r>
            <a:endParaRPr lang="fr-FR" dirty="0">
              <a:effectLst/>
              <a:latin typeface="Times New Roman" panose="02020603050405020304" pitchFamily="18" charset="0"/>
              <a:ea typeface="Times New Roman" panose="02020603050405020304" pitchFamily="18" charset="0"/>
            </a:endParaRPr>
          </a:p>
          <a:p>
            <a:endParaRPr lang="fr-FR" dirty="0"/>
          </a:p>
        </p:txBody>
      </p:sp>
    </p:spTree>
    <p:extLst>
      <p:ext uri="{BB962C8B-B14F-4D97-AF65-F5344CB8AC3E}">
        <p14:creationId xmlns:p14="http://schemas.microsoft.com/office/powerpoint/2010/main" val="27755328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019CE6-C4A7-499E-B692-71CBD23648DB}"/>
              </a:ext>
            </a:extLst>
          </p:cNvPr>
          <p:cNvSpPr>
            <a:spLocks noGrp="1"/>
          </p:cNvSpPr>
          <p:nvPr>
            <p:ph type="title"/>
          </p:nvPr>
        </p:nvSpPr>
        <p:spPr/>
        <p:txBody>
          <a:bodyPr/>
          <a:lstStyle/>
          <a:p>
            <a:r>
              <a:rPr lang="fr-FR" dirty="0"/>
              <a:t>Cas Inventaire</a:t>
            </a:r>
          </a:p>
        </p:txBody>
      </p:sp>
      <p:sp>
        <p:nvSpPr>
          <p:cNvPr id="3" name="Espace réservé du contenu 2">
            <a:extLst>
              <a:ext uri="{FF2B5EF4-FFF2-40B4-BE49-F238E27FC236}">
                <a16:creationId xmlns:a16="http://schemas.microsoft.com/office/drawing/2014/main" id="{51B3B3AE-5554-4A0C-8350-2C744674B520}"/>
              </a:ext>
            </a:extLst>
          </p:cNvPr>
          <p:cNvSpPr>
            <a:spLocks noGrp="1"/>
          </p:cNvSpPr>
          <p:nvPr>
            <p:ph idx="1"/>
          </p:nvPr>
        </p:nvSpPr>
        <p:spPr/>
        <p:txBody>
          <a:bodyPr/>
          <a:lstStyle/>
          <a:p>
            <a:pPr indent="449580" algn="just"/>
            <a:r>
              <a:rPr lang="fr-FR" sz="2800" dirty="0">
                <a:effectLst/>
                <a:latin typeface="Calibri" panose="020F0502020204030204" pitchFamily="34" charset="0"/>
                <a:ea typeface="Times New Roman" panose="02020603050405020304" pitchFamily="18" charset="0"/>
              </a:rPr>
              <a:t>4) La facture FA2020-4301 de 38 400 € TTC (TVA 20 %) du 21 décembre 2019 adressée au client PEPI concerne des travaux qui sont achevés à 20 % au 31 / 12 / 2019.</a:t>
            </a:r>
            <a:endParaRPr lang="fr-FR" sz="3200" dirty="0">
              <a:effectLst/>
              <a:latin typeface="Times New Roman" panose="02020603050405020304" pitchFamily="18" charset="0"/>
              <a:ea typeface="Times New Roman" panose="02020603050405020304" pitchFamily="18" charset="0"/>
            </a:endParaRPr>
          </a:p>
          <a:p>
            <a:pPr indent="0" algn="just">
              <a:buNone/>
            </a:pPr>
            <a:endParaRPr lang="fr-FR" sz="3200" dirty="0">
              <a:effectLst/>
              <a:latin typeface="Times New Roman" panose="02020603050405020304" pitchFamily="18" charset="0"/>
              <a:ea typeface="Times New Roman" panose="02020603050405020304" pitchFamily="18" charset="0"/>
            </a:endParaRPr>
          </a:p>
          <a:p>
            <a:pPr indent="449580" algn="just"/>
            <a:r>
              <a:rPr lang="fr-FR" sz="2800" dirty="0">
                <a:effectLst/>
                <a:latin typeface="Calibri" panose="020F0502020204030204" pitchFamily="34" charset="0"/>
                <a:ea typeface="Times New Roman" panose="02020603050405020304" pitchFamily="18" charset="0"/>
              </a:rPr>
              <a:t>5) L’entreprise a acheté un ordinateur le 1 juillet 2018 pour 2 400 € HT </a:t>
            </a:r>
            <a:endParaRPr lang="fr-FR" sz="3200" dirty="0">
              <a:effectLst/>
              <a:latin typeface="Times New Roman" panose="02020603050405020304" pitchFamily="18" charset="0"/>
              <a:ea typeface="Times New Roman" panose="02020603050405020304" pitchFamily="18" charset="0"/>
            </a:endParaRPr>
          </a:p>
          <a:p>
            <a:pPr indent="0" algn="just">
              <a:buNone/>
            </a:pPr>
            <a:r>
              <a:rPr lang="fr-FR" sz="2800" dirty="0">
                <a:effectLst/>
                <a:latin typeface="Calibri" panose="020F0502020204030204" pitchFamily="34" charset="0"/>
                <a:ea typeface="Times New Roman" panose="02020603050405020304" pitchFamily="18" charset="0"/>
              </a:rPr>
              <a:t>– Amortissement sur 3 ans </a:t>
            </a:r>
            <a:endParaRPr lang="fr-FR" sz="3200" dirty="0">
              <a:effectLst/>
              <a:latin typeface="Times New Roman" panose="02020603050405020304" pitchFamily="18" charset="0"/>
              <a:ea typeface="Times New Roman" panose="02020603050405020304" pitchFamily="18" charset="0"/>
            </a:endParaRPr>
          </a:p>
          <a:p>
            <a:endParaRPr lang="fr-FR" dirty="0"/>
          </a:p>
        </p:txBody>
      </p:sp>
    </p:spTree>
    <p:extLst>
      <p:ext uri="{BB962C8B-B14F-4D97-AF65-F5344CB8AC3E}">
        <p14:creationId xmlns:p14="http://schemas.microsoft.com/office/powerpoint/2010/main" val="15817126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16C5FA50-8D52-4617-AF91-5C7B1C835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45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9093496" y="618681"/>
            <a:ext cx="2613872" cy="4794567"/>
          </a:xfrm>
          <a:prstGeom prst="ellipse">
            <a:avLst/>
          </a:prstGeom>
        </p:spPr>
        <p:txBody>
          <a:bodyPr vert="horz" lIns="91440" tIns="45720" rIns="91440" bIns="45720" rtlCol="0" anchor="ctr">
            <a:normAutofit/>
          </a:bodyPr>
          <a:lstStyle/>
          <a:p>
            <a:r>
              <a:rPr lang="en-US" sz="3600">
                <a:solidFill>
                  <a:srgbClr val="FFFFFF"/>
                </a:solidFill>
              </a:rPr>
              <a:t>Merci</a:t>
            </a:r>
          </a:p>
        </p:txBody>
      </p:sp>
      <p:sp>
        <p:nvSpPr>
          <p:cNvPr id="90" name="Rounded Rectangle 9">
            <a:extLst>
              <a:ext uri="{FF2B5EF4-FFF2-40B4-BE49-F238E27FC236}">
                <a16:creationId xmlns:a16="http://schemas.microsoft.com/office/drawing/2014/main" id="{E223798C-12AD-4B0C-A50C-D676347D67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5579" r="5579"/>
          <a:stretch/>
        </p:blipFill>
        <p:spPr>
          <a:xfrm>
            <a:off x="976251" y="942538"/>
            <a:ext cx="7163222" cy="4808332"/>
          </a:xfrm>
          <a:prstGeom prst="rect">
            <a:avLst/>
          </a:prstGeom>
          <a:effectLst/>
        </p:spPr>
      </p:pic>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85313176"/>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3FB199-37AF-4AEB-91D2-99997345373F}"/>
              </a:ext>
            </a:extLst>
          </p:cNvPr>
          <p:cNvSpPr>
            <a:spLocks noGrp="1"/>
          </p:cNvSpPr>
          <p:nvPr>
            <p:ph type="title"/>
          </p:nvPr>
        </p:nvSpPr>
        <p:spPr>
          <a:xfrm>
            <a:off x="609600" y="274638"/>
            <a:ext cx="10972800" cy="918895"/>
          </a:xfrm>
        </p:spPr>
        <p:txBody>
          <a:bodyPr vert="horz" lIns="91440" tIns="45720" rIns="91440" bIns="45720" rtlCol="0" anchor="ctr">
            <a:normAutofit/>
          </a:bodyPr>
          <a:lstStyle/>
          <a:p>
            <a:r>
              <a:rPr lang="en-US" dirty="0" err="1">
                <a:latin typeface="Arial" panose="020B0604020202020204" pitchFamily="34" charset="0"/>
                <a:cs typeface="Arial" panose="020B0604020202020204" pitchFamily="34" charset="0"/>
              </a:rPr>
              <a:t>Programme</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révisionnel</a:t>
            </a:r>
            <a:endParaRPr lang="en-US" dirty="0">
              <a:latin typeface="Arial" panose="020B0604020202020204" pitchFamily="34" charset="0"/>
              <a:cs typeface="Arial" panose="020B0604020202020204" pitchFamily="34" charset="0"/>
            </a:endParaRPr>
          </a:p>
        </p:txBody>
      </p:sp>
      <p:sp>
        <p:nvSpPr>
          <p:cNvPr id="4" name="ZoneTexte 3">
            <a:extLst>
              <a:ext uri="{FF2B5EF4-FFF2-40B4-BE49-F238E27FC236}">
                <a16:creationId xmlns:a16="http://schemas.microsoft.com/office/drawing/2014/main" id="{46D878E7-F5C5-452B-937D-8840816B6ECF}"/>
              </a:ext>
            </a:extLst>
          </p:cNvPr>
          <p:cNvSpPr txBox="1"/>
          <p:nvPr/>
        </p:nvSpPr>
        <p:spPr>
          <a:xfrm>
            <a:off x="2843428" y="6003837"/>
            <a:ext cx="6505071" cy="405405"/>
          </a:xfrm>
          <a:prstGeom prst="rect">
            <a:avLst/>
          </a:prstGeom>
        </p:spPr>
        <p:txBody>
          <a:bodyPr vert="horz" lIns="91440" tIns="45720" rIns="91440" bIns="45720" rtlCol="0">
            <a:normAutofit/>
          </a:bodyPr>
          <a:lstStyle/>
          <a:p>
            <a:pPr algn="ctr">
              <a:lnSpc>
                <a:spcPct val="90000"/>
              </a:lnSpc>
              <a:spcBef>
                <a:spcPts val="1000"/>
              </a:spcBef>
            </a:pPr>
            <a:endParaRPr lang="en-US" sz="1400" dirty="0">
              <a:solidFill>
                <a:prstClr val="white"/>
              </a:solidFill>
              <a:latin typeface="Calibri"/>
            </a:endParaRPr>
          </a:p>
        </p:txBody>
      </p:sp>
      <p:graphicFrame>
        <p:nvGraphicFramePr>
          <p:cNvPr id="3" name="Tableau 2">
            <a:extLst>
              <a:ext uri="{FF2B5EF4-FFF2-40B4-BE49-F238E27FC236}">
                <a16:creationId xmlns:a16="http://schemas.microsoft.com/office/drawing/2014/main" id="{90A39BD7-E179-4570-8079-E6A295B49267}"/>
              </a:ext>
            </a:extLst>
          </p:cNvPr>
          <p:cNvGraphicFramePr>
            <a:graphicFrameLocks noGrp="1"/>
          </p:cNvGraphicFramePr>
          <p:nvPr>
            <p:extLst>
              <p:ext uri="{D42A27DB-BD31-4B8C-83A1-F6EECF244321}">
                <p14:modId xmlns:p14="http://schemas.microsoft.com/office/powerpoint/2010/main" val="2611097697"/>
              </p:ext>
            </p:extLst>
          </p:nvPr>
        </p:nvGraphicFramePr>
        <p:xfrm>
          <a:off x="121920" y="1193533"/>
          <a:ext cx="11460443" cy="4964311"/>
        </p:xfrm>
        <a:graphic>
          <a:graphicData uri="http://schemas.openxmlformats.org/drawingml/2006/table">
            <a:tbl>
              <a:tblPr firstRow="1" firstCol="1" bandRow="1">
                <a:solidFill>
                  <a:srgbClr val="F2F2F2">
                    <a:alpha val="30196"/>
                  </a:srgbClr>
                </a:solidFill>
              </a:tblPr>
              <a:tblGrid>
                <a:gridCol w="990464">
                  <a:extLst>
                    <a:ext uri="{9D8B030D-6E8A-4147-A177-3AD203B41FA5}">
                      <a16:colId xmlns:a16="http://schemas.microsoft.com/office/drawing/2014/main" val="421084245"/>
                    </a:ext>
                  </a:extLst>
                </a:gridCol>
                <a:gridCol w="10469979">
                  <a:extLst>
                    <a:ext uri="{9D8B030D-6E8A-4147-A177-3AD203B41FA5}">
                      <a16:colId xmlns:a16="http://schemas.microsoft.com/office/drawing/2014/main" val="3974086313"/>
                    </a:ext>
                  </a:extLst>
                </a:gridCol>
              </a:tblGrid>
              <a:tr h="451301">
                <a:tc>
                  <a:txBody>
                    <a:bodyPr/>
                    <a:lstStyle/>
                    <a:p>
                      <a:pPr>
                        <a:tabLst>
                          <a:tab pos="3978910" algn="l"/>
                        </a:tabLst>
                      </a:pPr>
                      <a:r>
                        <a:rPr lang="fr-FR" sz="1500" b="0" cap="none" spc="0" dirty="0">
                          <a:solidFill>
                            <a:schemeClr val="bg1"/>
                          </a:solidFill>
                          <a:effectLst/>
                          <a:latin typeface="Arial" panose="020B0604020202020204" pitchFamily="34" charset="0"/>
                          <a:ea typeface="Times New Roman" panose="02020603050405020304" pitchFamily="18" charset="0"/>
                        </a:rPr>
                        <a:t>Séance</a:t>
                      </a:r>
                      <a:endParaRPr lang="fr-FR" sz="1500" b="0" cap="none" spc="0" dirty="0">
                        <a:solidFill>
                          <a:schemeClr val="bg1"/>
                        </a:solidFill>
                        <a:effectLst/>
                        <a:latin typeface="Times New Roman" panose="02020603050405020304" pitchFamily="18" charset="0"/>
                        <a:ea typeface="Times New Roman" panose="02020603050405020304" pitchFamily="18" charset="0"/>
                      </a:endParaRPr>
                    </a:p>
                  </a:txBody>
                  <a:tcPr marL="123949" marR="71509" marT="95345" marB="95345" anchor="ctr">
                    <a:lnL w="19050" cap="flat" cmpd="sng" algn="ctr">
                      <a:noFill/>
                      <a:prstDash val="solid"/>
                    </a:lnL>
                    <a:lnR w="12700" cmpd="sng">
                      <a:noFill/>
                    </a:lnR>
                    <a:lnT w="19050" cap="flat" cmpd="sng" algn="ctr">
                      <a:noFill/>
                      <a:prstDash val="solid"/>
                    </a:lnT>
                    <a:lnB w="38100" cmpd="sng">
                      <a:noFill/>
                    </a:lnB>
                    <a:solidFill>
                      <a:schemeClr val="accent1"/>
                    </a:solidFill>
                  </a:tcPr>
                </a:tc>
                <a:tc>
                  <a:txBody>
                    <a:bodyPr/>
                    <a:lstStyle/>
                    <a:p>
                      <a:pPr>
                        <a:tabLst>
                          <a:tab pos="3978910" algn="l"/>
                        </a:tabLst>
                      </a:pPr>
                      <a:r>
                        <a:rPr lang="fr-FR" sz="1500" b="0" cap="none" spc="0" dirty="0">
                          <a:solidFill>
                            <a:schemeClr val="bg1"/>
                          </a:solidFill>
                          <a:effectLst/>
                          <a:latin typeface="Arial" panose="020B0604020202020204" pitchFamily="34" charset="0"/>
                          <a:ea typeface="Times New Roman" panose="02020603050405020304" pitchFamily="18" charset="0"/>
                        </a:rPr>
                        <a:t>Contenu des séances</a:t>
                      </a:r>
                      <a:endParaRPr lang="fr-FR" sz="1500" b="0" cap="none" spc="0" dirty="0">
                        <a:solidFill>
                          <a:schemeClr val="bg1"/>
                        </a:solidFill>
                        <a:effectLst/>
                        <a:latin typeface="Times New Roman" panose="02020603050405020304" pitchFamily="18" charset="0"/>
                        <a:ea typeface="Times New Roman" panose="02020603050405020304" pitchFamily="18" charset="0"/>
                      </a:endParaRPr>
                    </a:p>
                  </a:txBody>
                  <a:tcPr marL="123949" marR="71509" marT="95345" marB="95345" anchor="ctr">
                    <a:lnL w="12700" cmpd="sng">
                      <a:noFill/>
                    </a:lnL>
                    <a:lnR w="12700" cmpd="sng">
                      <a:noFill/>
                    </a:lnR>
                    <a:lnT w="19050" cap="flat" cmpd="sng" algn="ctr">
                      <a:noFill/>
                      <a:prstDash val="solid"/>
                    </a:lnT>
                    <a:lnB w="38100" cmpd="sng">
                      <a:noFill/>
                    </a:lnB>
                    <a:solidFill>
                      <a:schemeClr val="accent1"/>
                    </a:solidFill>
                  </a:tcPr>
                </a:tc>
                <a:extLst>
                  <a:ext uri="{0D108BD9-81ED-4DB2-BD59-A6C34878D82A}">
                    <a16:rowId xmlns:a16="http://schemas.microsoft.com/office/drawing/2014/main" val="894008224"/>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1-2-3-4</a:t>
                      </a:r>
                      <a:endParaRPr lang="fr-FR" sz="1500" cap="none" spc="0" dirty="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38100" cmpd="sng">
                      <a:noFill/>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oncepts et principes de base de la comptabilité – Le PCG – Les différentes classes – LAB -</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38100" cmpd="sng">
                      <a:noFill/>
                    </a:lnT>
                    <a:lnB w="6350" cap="flat" cmpd="sng" algn="ctr">
                      <a:noFill/>
                      <a:prstDash val="solid"/>
                    </a:lnB>
                    <a:solidFill>
                      <a:srgbClr val="F2F2F2">
                        <a:alpha val="30196"/>
                      </a:srgbClr>
                    </a:solidFill>
                  </a:tcPr>
                </a:tc>
                <a:extLst>
                  <a:ext uri="{0D108BD9-81ED-4DB2-BD59-A6C34878D82A}">
                    <a16:rowId xmlns:a16="http://schemas.microsoft.com/office/drawing/2014/main" val="2142013335"/>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5-6</a:t>
                      </a:r>
                      <a:endParaRPr lang="fr-FR" sz="1500" cap="none" spc="0" dirty="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a comptabilisation – Les documents comptables – Les normes internationales =&gt; après le bilan</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771204828"/>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7-8</a:t>
                      </a:r>
                      <a:endParaRPr lang="fr-FR" sz="1500" cap="none" spc="0" dirty="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12700" cmpd="sng">
                      <a:noFill/>
                      <a:prstDash val="solid"/>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ompte de résultat - Analyse</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12700" cmpd="sng">
                      <a:no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2307725469"/>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9-10</a:t>
                      </a:r>
                      <a:endParaRPr lang="fr-FR" sz="1500" cap="none" spc="0" dirty="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lan – Analyse </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016166339"/>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11-12</a:t>
                      </a:r>
                      <a:endParaRPr lang="fr-FR" sz="1500" cap="none" spc="0" dirty="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12700" cmpd="sng">
                      <a:noFill/>
                      <a:prstDash val="solid"/>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a comptabilisation </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12700" cmpd="sng">
                      <a:no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2015265399"/>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13-14</a:t>
                      </a:r>
                      <a:endParaRPr lang="fr-FR" sz="1500" cap="none" spc="0" dirty="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écritures – La TVA </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4279858747"/>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15-16</a:t>
                      </a:r>
                      <a:endParaRPr lang="fr-FR" sz="1500" cap="none" spc="0" dirty="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38100" cap="flat" cmpd="sng" algn="ctr">
                      <a:noFill/>
                      <a:prstDash val="solid"/>
                    </a:lnL>
                    <a:lnR w="6350" cap="flat" cmpd="sng" algn="ctr">
                      <a:solidFill>
                        <a:schemeClr val="tx1">
                          <a:lumMod val="75000"/>
                          <a:lumOff val="25000"/>
                        </a:schemeClr>
                      </a:solidFill>
                      <a:prstDash val="solid"/>
                    </a:lnR>
                    <a:lnT w="12700" cmpd="sng">
                      <a:noFill/>
                      <a:prstDash val="solid"/>
                    </a:lnT>
                    <a:lnB w="6350" cap="flat" cmpd="sng" algn="ctr">
                      <a:noFill/>
                      <a:prstDash val="solid"/>
                    </a:lnB>
                    <a:solidFill>
                      <a:srgbClr val="F2F2F2">
                        <a:alpha val="30196"/>
                      </a:srgb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ettes à LT et autres dettes - les capitaux propres – Les provisions - Les immobilisations – IFRS 16</a:t>
                      </a:r>
                    </a:p>
                  </a:txBody>
                  <a:tcPr marL="123949" marR="71509" marT="95345" marB="95345">
                    <a:lnL w="6350" cap="flat" cmpd="sng" algn="ctr">
                      <a:solidFill>
                        <a:schemeClr val="tx1">
                          <a:lumMod val="75000"/>
                          <a:lumOff val="25000"/>
                        </a:schemeClr>
                      </a:solidFill>
                      <a:prstDash val="solid"/>
                    </a:lnL>
                    <a:lnR w="38100" cap="flat" cmpd="sng" algn="ctr">
                      <a:noFill/>
                      <a:prstDash val="solid"/>
                    </a:lnR>
                    <a:lnT w="12700" cmpd="sng">
                      <a:no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3544203615"/>
                  </a:ext>
                </a:extLst>
              </a:tr>
              <a:tr h="451301">
                <a:tc>
                  <a:txBody>
                    <a:bodyPr/>
                    <a:lstStyle/>
                    <a:p>
                      <a:pPr>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rPr>
                        <a:t>17-18</a:t>
                      </a:r>
                      <a:endParaRPr lang="fr-FR" sz="1500" cap="none" spc="0" dirty="0">
                        <a:solidFill>
                          <a:schemeClr val="tx1"/>
                        </a:solidFill>
                        <a:effectLst/>
                        <a:latin typeface="Times New Roman" panose="02020603050405020304" pitchFamily="18" charset="0"/>
                        <a:ea typeface="Times New Roman" panose="02020603050405020304" pitchFamily="18" charset="0"/>
                      </a:endParaRP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Les écritures d’inventaire</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913093419"/>
                  </a:ext>
                </a:extLst>
              </a:tr>
              <a:tr h="451301">
                <a:tc>
                  <a:txBody>
                    <a:bodyPr/>
                    <a:lstStyle/>
                    <a:p>
                      <a:pPr>
                        <a:tabLst>
                          <a:tab pos="3978910" algn="l"/>
                        </a:tabLst>
                      </a:pPr>
                      <a:r>
                        <a:rPr lang="fr-FR" sz="1500" cap="none" spc="0" dirty="0">
                          <a:solidFill>
                            <a:schemeClr val="tx1"/>
                          </a:solidFill>
                          <a:effectLst/>
                          <a:latin typeface="Times New Roman" panose="02020603050405020304" pitchFamily="18" charset="0"/>
                          <a:ea typeface="Times New Roman" panose="02020603050405020304" pitchFamily="18" charset="0"/>
                        </a:rPr>
                        <a:t>19-20</a:t>
                      </a: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annexe</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480796521"/>
                  </a:ext>
                </a:extLst>
              </a:tr>
              <a:tr h="451301">
                <a:tc>
                  <a:txBody>
                    <a:bodyPr/>
                    <a:lstStyle/>
                    <a:p>
                      <a:pPr>
                        <a:tabLst>
                          <a:tab pos="3978910" algn="l"/>
                        </a:tabLst>
                      </a:pPr>
                      <a:r>
                        <a:rPr lang="fr-FR" sz="1500" cap="none" spc="0" dirty="0">
                          <a:solidFill>
                            <a:schemeClr val="tx1"/>
                          </a:solidFill>
                          <a:effectLst/>
                          <a:latin typeface="Times New Roman" panose="02020603050405020304" pitchFamily="18" charset="0"/>
                          <a:ea typeface="Times New Roman" panose="02020603050405020304" pitchFamily="18" charset="0"/>
                        </a:rPr>
                        <a:t>21-22</a:t>
                      </a:r>
                    </a:p>
                  </a:txBody>
                  <a:tcPr marL="123949" marR="71509" marT="95345" marB="95345" anchor="ctr">
                    <a:lnL w="6350" cap="flat" cmpd="sng" algn="ctr">
                      <a:noFill/>
                      <a:prstDash val="solid"/>
                    </a:lnL>
                    <a:lnR w="6350" cap="flat" cmpd="sng" algn="ctr">
                      <a:noFill/>
                      <a:prstDash val="solid"/>
                    </a:lnR>
                    <a:lnT w="6350" cap="flat" cmpd="sng" algn="ctr">
                      <a:noFill/>
                      <a:prstDash val="solid"/>
                    </a:lnT>
                    <a:lnB w="12700" cmpd="sng">
                      <a:noFill/>
                      <a:prstDash val="solid"/>
                    </a:lnB>
                    <a:solidFill>
                      <a:schemeClr val="bg1">
                        <a:lumMod val="95000"/>
                      </a:schemeClr>
                    </a:solidFill>
                  </a:tcPr>
                </a:tc>
                <a:tc>
                  <a:txBody>
                    <a:bodyPr/>
                    <a:lstStyle/>
                    <a:p>
                      <a:pPr algn="just">
                        <a:tabLst>
                          <a:tab pos="3978910" algn="l"/>
                        </a:tabLst>
                      </a:pPr>
                      <a:r>
                        <a:rPr lang="fr-FR" sz="1500" cap="none" spc="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points particuliers </a:t>
                      </a:r>
                    </a:p>
                  </a:txBody>
                  <a:tcPr marL="123949" marR="71509" marT="95345" marB="95345">
                    <a:lnL w="6350" cap="flat" cmpd="sng" algn="ctr">
                      <a:noFill/>
                      <a:prstDash val="solid"/>
                    </a:lnL>
                    <a:lnR w="12700" cmpd="sng">
                      <a:noFill/>
                      <a:prstDash val="solid"/>
                    </a:lnR>
                    <a:lnT w="635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654891150"/>
                  </a:ext>
                </a:extLst>
              </a:tr>
            </a:tbl>
          </a:graphicData>
        </a:graphic>
      </p:graphicFrame>
    </p:spTree>
    <p:extLst>
      <p:ext uri="{BB962C8B-B14F-4D97-AF65-F5344CB8AC3E}">
        <p14:creationId xmlns:p14="http://schemas.microsoft.com/office/powerpoint/2010/main" val="2516914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4" name="Rectangle 83">
            <a:extLst>
              <a:ext uri="{FF2B5EF4-FFF2-40B4-BE49-F238E27FC236}">
                <a16:creationId xmlns:a16="http://schemas.microsoft.com/office/drawing/2014/main" id="{23E547B5-89CF-4EC0-96DE-25771AED07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3F0B8CEB-8279-4E5E-A0CE-1FC9F71736F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782" y="0"/>
            <a:ext cx="7421217" cy="6857999"/>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02517F6E-26E9-44E8-815E-774552D95FD0}"/>
              </a:ext>
            </a:extLst>
          </p:cNvPr>
          <p:cNvSpPr>
            <a:spLocks noGrp="1"/>
          </p:cNvSpPr>
          <p:nvPr>
            <p:ph type="title"/>
          </p:nvPr>
        </p:nvSpPr>
        <p:spPr>
          <a:xfrm>
            <a:off x="7320466" y="609600"/>
            <a:ext cx="4140014" cy="1330839"/>
          </a:xfrm>
          <a:prstGeom prst="ellipse">
            <a:avLst/>
          </a:prstGeom>
        </p:spPr>
        <p:txBody>
          <a:bodyPr vert="horz" lIns="91440" tIns="45720" rIns="91440" bIns="45720" rtlCol="0" anchor="ctr">
            <a:normAutofit/>
          </a:bodyPr>
          <a:lstStyle/>
          <a:p>
            <a:br>
              <a:rPr lang="en-US" sz="2800" dirty="0"/>
            </a:br>
            <a:endParaRPr lang="en-US" sz="2800" dirty="0"/>
          </a:p>
        </p:txBody>
      </p:sp>
      <p:pic>
        <p:nvPicPr>
          <p:cNvPr id="36" name="Picture 35">
            <a:extLst>
              <a:ext uri="{FF2B5EF4-FFF2-40B4-BE49-F238E27FC236}">
                <a16:creationId xmlns:a16="http://schemas.microsoft.com/office/drawing/2014/main" id="{FC9EF324-339C-4E46-9508-BF0C86AAC793}"/>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16675" r="16676" b="1"/>
          <a:stretch/>
        </p:blipFill>
        <p:spPr>
          <a:xfrm>
            <a:off x="20" y="10"/>
            <a:ext cx="6901711" cy="6857990"/>
          </a:xfrm>
          <a:custGeom>
            <a:avLst/>
            <a:gdLst/>
            <a:ahLst/>
            <a:cxnLst/>
            <a:rect l="l" t="t" r="r" b="b"/>
            <a:pathLst>
              <a:path w="6901731" h="6858000">
                <a:moveTo>
                  <a:pt x="0" y="0"/>
                </a:moveTo>
                <a:lnTo>
                  <a:pt x="6897896" y="5958"/>
                </a:lnTo>
                <a:lnTo>
                  <a:pt x="6866823" y="62592"/>
                </a:lnTo>
                <a:lnTo>
                  <a:pt x="6901731" y="89476"/>
                </a:lnTo>
                <a:lnTo>
                  <a:pt x="6901731" y="103833"/>
                </a:lnTo>
                <a:lnTo>
                  <a:pt x="6900034" y="110092"/>
                </a:lnTo>
                <a:lnTo>
                  <a:pt x="6901731" y="113679"/>
                </a:lnTo>
                <a:lnTo>
                  <a:pt x="6901731" y="405560"/>
                </a:lnTo>
                <a:lnTo>
                  <a:pt x="6900456" y="429509"/>
                </a:lnTo>
                <a:cubicBezTo>
                  <a:pt x="6892773" y="535647"/>
                  <a:pt x="6878314" y="537918"/>
                  <a:pt x="6886342" y="636808"/>
                </a:cubicBezTo>
                <a:cubicBezTo>
                  <a:pt x="6892506" y="756883"/>
                  <a:pt x="6864504" y="771443"/>
                  <a:pt x="6851784" y="839073"/>
                </a:cubicBezTo>
                <a:cubicBezTo>
                  <a:pt x="6838675" y="892655"/>
                  <a:pt x="6864124" y="961738"/>
                  <a:pt x="6845760" y="994930"/>
                </a:cubicBezTo>
                <a:cubicBezTo>
                  <a:pt x="6833572" y="1024166"/>
                  <a:pt x="6859282" y="1058905"/>
                  <a:pt x="6845601" y="1112932"/>
                </a:cubicBezTo>
                <a:cubicBezTo>
                  <a:pt x="6838700" y="1149910"/>
                  <a:pt x="6829138" y="1151035"/>
                  <a:pt x="6820235" y="1187433"/>
                </a:cubicBezTo>
                <a:cubicBezTo>
                  <a:pt x="6815504" y="1196464"/>
                  <a:pt x="6777707" y="1338549"/>
                  <a:pt x="6759643" y="1337010"/>
                </a:cubicBezTo>
                <a:cubicBezTo>
                  <a:pt x="6737660" y="1337296"/>
                  <a:pt x="6760650" y="1396341"/>
                  <a:pt x="6736375" y="1382272"/>
                </a:cubicBezTo>
                <a:cubicBezTo>
                  <a:pt x="6755741" y="1415836"/>
                  <a:pt x="6714675" y="1414567"/>
                  <a:pt x="6701292" y="1432111"/>
                </a:cubicBezTo>
                <a:cubicBezTo>
                  <a:pt x="6721110" y="1460185"/>
                  <a:pt x="6692106" y="1490815"/>
                  <a:pt x="6686578" y="1518624"/>
                </a:cubicBezTo>
                <a:cubicBezTo>
                  <a:pt x="6682512" y="1567002"/>
                  <a:pt x="6679579" y="1571443"/>
                  <a:pt x="6670824" y="1607743"/>
                </a:cubicBezTo>
                <a:cubicBezTo>
                  <a:pt x="6671133" y="1629590"/>
                  <a:pt x="6663161" y="1656870"/>
                  <a:pt x="6664392" y="1696405"/>
                </a:cubicBezTo>
                <a:cubicBezTo>
                  <a:pt x="6655686" y="1770486"/>
                  <a:pt x="6641938" y="1757082"/>
                  <a:pt x="6642880" y="1812372"/>
                </a:cubicBezTo>
                <a:cubicBezTo>
                  <a:pt x="6638579" y="1872475"/>
                  <a:pt x="6619231" y="1825476"/>
                  <a:pt x="6612547" y="1876437"/>
                </a:cubicBezTo>
                <a:cubicBezTo>
                  <a:pt x="6600695" y="1913834"/>
                  <a:pt x="6591061" y="1923231"/>
                  <a:pt x="6571760" y="1953331"/>
                </a:cubicBezTo>
                <a:cubicBezTo>
                  <a:pt x="6561039" y="1989021"/>
                  <a:pt x="6544090" y="2087896"/>
                  <a:pt x="6520213" y="2096455"/>
                </a:cubicBezTo>
                <a:lnTo>
                  <a:pt x="6492461" y="2188148"/>
                </a:lnTo>
                <a:cubicBezTo>
                  <a:pt x="6504372" y="2211333"/>
                  <a:pt x="6489131" y="2253220"/>
                  <a:pt x="6471854" y="2259117"/>
                </a:cubicBezTo>
                <a:cubicBezTo>
                  <a:pt x="6466151" y="2287829"/>
                  <a:pt x="6440452" y="2301346"/>
                  <a:pt x="6439832" y="2328334"/>
                </a:cubicBezTo>
                <a:cubicBezTo>
                  <a:pt x="6431013" y="2351201"/>
                  <a:pt x="6444250" y="2396409"/>
                  <a:pt x="6425162" y="2408211"/>
                </a:cubicBezTo>
                <a:lnTo>
                  <a:pt x="6417221" y="2427382"/>
                </a:lnTo>
                <a:lnTo>
                  <a:pt x="6425030" y="2464387"/>
                </a:lnTo>
                <a:lnTo>
                  <a:pt x="6406293" y="2472223"/>
                </a:lnTo>
                <a:cubicBezTo>
                  <a:pt x="6406862" y="2477277"/>
                  <a:pt x="6406486" y="2491723"/>
                  <a:pt x="6405400" y="2493547"/>
                </a:cubicBezTo>
                <a:lnTo>
                  <a:pt x="6374829" y="2532070"/>
                </a:lnTo>
                <a:cubicBezTo>
                  <a:pt x="6374597" y="2545374"/>
                  <a:pt x="6360976" y="2563797"/>
                  <a:pt x="6350864" y="2577422"/>
                </a:cubicBezTo>
                <a:cubicBezTo>
                  <a:pt x="6327056" y="2632768"/>
                  <a:pt x="6341262" y="2616275"/>
                  <a:pt x="6329174" y="2663854"/>
                </a:cubicBezTo>
                <a:cubicBezTo>
                  <a:pt x="6326303" y="2703642"/>
                  <a:pt x="6332854" y="2709643"/>
                  <a:pt x="6315095" y="2741507"/>
                </a:cubicBezTo>
                <a:cubicBezTo>
                  <a:pt x="6319921" y="2740191"/>
                  <a:pt x="6321925" y="2742004"/>
                  <a:pt x="6322463" y="2745641"/>
                </a:cubicBezTo>
                <a:cubicBezTo>
                  <a:pt x="6322245" y="2747982"/>
                  <a:pt x="6322027" y="2750323"/>
                  <a:pt x="6321808" y="2752663"/>
                </a:cubicBezTo>
                <a:lnTo>
                  <a:pt x="6314569" y="2756718"/>
                </a:lnTo>
                <a:cubicBezTo>
                  <a:pt x="6289324" y="2773686"/>
                  <a:pt x="6317551" y="2780051"/>
                  <a:pt x="6315211" y="2811618"/>
                </a:cubicBezTo>
                <a:cubicBezTo>
                  <a:pt x="6315620" y="2826627"/>
                  <a:pt x="6296047" y="2885298"/>
                  <a:pt x="6302211" y="2882314"/>
                </a:cubicBezTo>
                <a:lnTo>
                  <a:pt x="6286167" y="2949597"/>
                </a:lnTo>
                <a:cubicBezTo>
                  <a:pt x="6286401" y="2994618"/>
                  <a:pt x="6286615" y="2971464"/>
                  <a:pt x="6287037" y="3008578"/>
                </a:cubicBezTo>
                <a:cubicBezTo>
                  <a:pt x="6293795" y="3029535"/>
                  <a:pt x="6274405" y="3114154"/>
                  <a:pt x="6259150" y="3123139"/>
                </a:cubicBezTo>
                <a:cubicBezTo>
                  <a:pt x="6250085" y="3189063"/>
                  <a:pt x="6269067" y="3151280"/>
                  <a:pt x="6272249" y="3227854"/>
                </a:cubicBezTo>
                <a:cubicBezTo>
                  <a:pt x="6278775" y="3295842"/>
                  <a:pt x="6289216" y="3303765"/>
                  <a:pt x="6292288" y="3378383"/>
                </a:cubicBezTo>
                <a:cubicBezTo>
                  <a:pt x="6303894" y="3395995"/>
                  <a:pt x="6287498" y="3432581"/>
                  <a:pt x="6288328" y="3459618"/>
                </a:cubicBezTo>
                <a:cubicBezTo>
                  <a:pt x="6289158" y="3486653"/>
                  <a:pt x="6299937" y="3538735"/>
                  <a:pt x="6297272" y="3540603"/>
                </a:cubicBezTo>
                <a:cubicBezTo>
                  <a:pt x="6296849" y="3577379"/>
                  <a:pt x="6294184" y="3587943"/>
                  <a:pt x="6291001" y="3638374"/>
                </a:cubicBezTo>
                <a:cubicBezTo>
                  <a:pt x="6283026" y="3666794"/>
                  <a:pt x="6265833" y="3731744"/>
                  <a:pt x="6283592" y="3763609"/>
                </a:cubicBezTo>
                <a:cubicBezTo>
                  <a:pt x="6264286" y="3758340"/>
                  <a:pt x="6290177" y="3803150"/>
                  <a:pt x="6274068" y="3814506"/>
                </a:cubicBezTo>
                <a:cubicBezTo>
                  <a:pt x="6260645" y="3821643"/>
                  <a:pt x="6265372" y="3836902"/>
                  <a:pt x="6262850" y="3850454"/>
                </a:cubicBezTo>
                <a:cubicBezTo>
                  <a:pt x="6250418" y="3863479"/>
                  <a:pt x="6250660" y="3955243"/>
                  <a:pt x="6257357" y="3975474"/>
                </a:cubicBezTo>
                <a:cubicBezTo>
                  <a:pt x="6245091" y="4036737"/>
                  <a:pt x="6237535" y="4029237"/>
                  <a:pt x="6257889" y="4073155"/>
                </a:cubicBezTo>
                <a:cubicBezTo>
                  <a:pt x="6259272" y="4085906"/>
                  <a:pt x="6239882" y="4116397"/>
                  <a:pt x="6237441" y="4126638"/>
                </a:cubicBezTo>
                <a:lnTo>
                  <a:pt x="6245587" y="4172738"/>
                </a:lnTo>
                <a:lnTo>
                  <a:pt x="6235772" y="4176721"/>
                </a:lnTo>
                <a:lnTo>
                  <a:pt x="6233287" y="4195136"/>
                </a:lnTo>
                <a:lnTo>
                  <a:pt x="6234619" y="4280850"/>
                </a:lnTo>
                <a:cubicBezTo>
                  <a:pt x="6239453" y="4320763"/>
                  <a:pt x="6223309" y="4337596"/>
                  <a:pt x="6219318" y="4402526"/>
                </a:cubicBezTo>
                <a:cubicBezTo>
                  <a:pt x="6205466" y="4516209"/>
                  <a:pt x="6216183" y="4588729"/>
                  <a:pt x="6216810" y="4651172"/>
                </a:cubicBezTo>
                <a:cubicBezTo>
                  <a:pt x="6217673" y="4756959"/>
                  <a:pt x="6228654" y="4824005"/>
                  <a:pt x="6225945" y="4916779"/>
                </a:cubicBezTo>
                <a:cubicBezTo>
                  <a:pt x="6217032" y="4993010"/>
                  <a:pt x="6264271" y="4984591"/>
                  <a:pt x="6230174" y="5051379"/>
                </a:cubicBezTo>
                <a:cubicBezTo>
                  <a:pt x="6235713" y="5056951"/>
                  <a:pt x="6239420" y="5163714"/>
                  <a:pt x="6242600" y="5170879"/>
                </a:cubicBezTo>
                <a:lnTo>
                  <a:pt x="6235996" y="5216428"/>
                </a:lnTo>
                <a:lnTo>
                  <a:pt x="6214638" y="5285298"/>
                </a:lnTo>
                <a:cubicBezTo>
                  <a:pt x="6211392" y="5297492"/>
                  <a:pt x="6225576" y="5312063"/>
                  <a:pt x="6228432" y="5317696"/>
                </a:cubicBezTo>
                <a:lnTo>
                  <a:pt x="6246496" y="5398787"/>
                </a:lnTo>
                <a:lnTo>
                  <a:pt x="6244793" y="5399530"/>
                </a:lnTo>
                <a:lnTo>
                  <a:pt x="6241695" y="5406948"/>
                </a:lnTo>
                <a:lnTo>
                  <a:pt x="6267461" y="5499413"/>
                </a:lnTo>
                <a:cubicBezTo>
                  <a:pt x="6285387" y="5533848"/>
                  <a:pt x="6284888" y="5550029"/>
                  <a:pt x="6295987" y="5582659"/>
                </a:cubicBezTo>
                <a:cubicBezTo>
                  <a:pt x="6311253" y="5681724"/>
                  <a:pt x="6295439" y="5695558"/>
                  <a:pt x="6364803" y="5784263"/>
                </a:cubicBezTo>
                <a:cubicBezTo>
                  <a:pt x="6379348" y="5818651"/>
                  <a:pt x="6412475" y="5906802"/>
                  <a:pt x="6423050" y="5922637"/>
                </a:cubicBezTo>
                <a:cubicBezTo>
                  <a:pt x="6445210" y="5973612"/>
                  <a:pt x="6468179" y="6023873"/>
                  <a:pt x="6497767" y="6090108"/>
                </a:cubicBezTo>
                <a:cubicBezTo>
                  <a:pt x="6571895" y="6150548"/>
                  <a:pt x="6572491" y="6236583"/>
                  <a:pt x="6606710" y="6281543"/>
                </a:cubicBezTo>
                <a:cubicBezTo>
                  <a:pt x="6633675" y="6335892"/>
                  <a:pt x="6654357" y="6388782"/>
                  <a:pt x="6667540" y="6443715"/>
                </a:cubicBezTo>
                <a:cubicBezTo>
                  <a:pt x="6685192" y="6466826"/>
                  <a:pt x="6650500" y="6508701"/>
                  <a:pt x="6659722" y="6550105"/>
                </a:cubicBezTo>
                <a:cubicBezTo>
                  <a:pt x="6665926" y="6645044"/>
                  <a:pt x="6669126" y="6627536"/>
                  <a:pt x="6671805" y="6687397"/>
                </a:cubicBezTo>
                <a:cubicBezTo>
                  <a:pt x="6682671" y="6733683"/>
                  <a:pt x="6665210" y="6772117"/>
                  <a:pt x="6669658" y="6806602"/>
                </a:cubicBezTo>
                <a:cubicBezTo>
                  <a:pt x="6661174" y="6812658"/>
                  <a:pt x="6667097" y="6831470"/>
                  <a:pt x="6675783" y="6850325"/>
                </a:cubicBezTo>
                <a:lnTo>
                  <a:pt x="6679704" y="6858000"/>
                </a:lnTo>
                <a:lnTo>
                  <a:pt x="4532241" y="6858000"/>
                </a:lnTo>
                <a:lnTo>
                  <a:pt x="1208596" y="6858000"/>
                </a:lnTo>
                <a:lnTo>
                  <a:pt x="0" y="6858000"/>
                </a:lnTo>
                <a:close/>
              </a:path>
            </a:pathLst>
          </a:custGeom>
        </p:spPr>
      </p:pic>
      <p:sp>
        <p:nvSpPr>
          <p:cNvPr id="5" name="ZoneTexte 4">
            <a:extLst>
              <a:ext uri="{FF2B5EF4-FFF2-40B4-BE49-F238E27FC236}">
                <a16:creationId xmlns:a16="http://schemas.microsoft.com/office/drawing/2014/main" id="{DFEA2082-E7DE-4453-8158-54F380B94285}"/>
              </a:ext>
            </a:extLst>
          </p:cNvPr>
          <p:cNvSpPr txBox="1"/>
          <p:nvPr/>
        </p:nvSpPr>
        <p:spPr>
          <a:xfrm>
            <a:off x="7320465" y="2194102"/>
            <a:ext cx="4140013" cy="390858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r>
              <a:rPr lang="en-US" sz="4000" dirty="0"/>
              <a:t>Les </a:t>
            </a:r>
            <a:r>
              <a:rPr lang="en-US" sz="4000" dirty="0" err="1"/>
              <a:t>écritures</a:t>
            </a:r>
            <a:r>
              <a:rPr lang="en-US" sz="4000" dirty="0"/>
              <a:t> </a:t>
            </a:r>
            <a:r>
              <a:rPr lang="en-US" sz="4000" dirty="0" err="1"/>
              <a:t>d’inventaire</a:t>
            </a:r>
            <a:endParaRPr lang="en-US" sz="4000" dirty="0"/>
          </a:p>
          <a:p>
            <a:pPr indent="-228600">
              <a:lnSpc>
                <a:spcPct val="90000"/>
              </a:lnSpc>
              <a:spcAft>
                <a:spcPts val="600"/>
              </a:spcAft>
              <a:buFont typeface="Arial" panose="020B0604020202020204" pitchFamily="34" charset="0"/>
              <a:buChar char="•"/>
            </a:pPr>
            <a:endParaRPr lang="en-US" sz="4000" dirty="0"/>
          </a:p>
        </p:txBody>
      </p:sp>
      <p:sp>
        <p:nvSpPr>
          <p:cNvPr id="4" name="ZoneTexte 3">
            <a:extLst>
              <a:ext uri="{FF2B5EF4-FFF2-40B4-BE49-F238E27FC236}">
                <a16:creationId xmlns:a16="http://schemas.microsoft.com/office/drawing/2014/main" id="{AE196125-F657-4A8D-BF6F-9D35E2A19BAA}"/>
              </a:ext>
            </a:extLst>
          </p:cNvPr>
          <p:cNvSpPr txBox="1"/>
          <p:nvPr/>
        </p:nvSpPr>
        <p:spPr>
          <a:xfrm>
            <a:off x="838200" y="1825625"/>
            <a:ext cx="10515600" cy="4351338"/>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dirty="0"/>
          </a:p>
        </p:txBody>
      </p:sp>
      <p:sp>
        <p:nvSpPr>
          <p:cNvPr id="23" name="ZoneTexte 2">
            <a:extLst>
              <a:ext uri="{FF2B5EF4-FFF2-40B4-BE49-F238E27FC236}">
                <a16:creationId xmlns:a16="http://schemas.microsoft.com/office/drawing/2014/main" id="{61BA051E-0D20-4CC3-9958-C0CFDE297C40}"/>
              </a:ext>
            </a:extLst>
          </p:cNvPr>
          <p:cNvSpPr txBox="1"/>
          <p:nvPr/>
        </p:nvSpPr>
        <p:spPr>
          <a:xfrm>
            <a:off x="1179226" y="3092970"/>
            <a:ext cx="9833548" cy="2693976"/>
          </a:xfrm>
          <a:prstGeom prst="rect">
            <a:avLst/>
          </a:prstGeom>
        </p:spPr>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a:p>
            <a:pPr indent="-228600">
              <a:lnSpc>
                <a:spcPct val="90000"/>
              </a:lnSpc>
              <a:spcAft>
                <a:spcPts val="600"/>
              </a:spcAft>
              <a:buFont typeface="Arial" panose="020B0604020202020204" pitchFamily="34" charset="0"/>
              <a:buChar char="•"/>
            </a:pPr>
            <a:endParaRPr lang="fr-FR" sz="2000" dirty="0">
              <a:solidFill>
                <a:srgbClr val="000000"/>
              </a:solidFill>
            </a:endParaRPr>
          </a:p>
        </p:txBody>
      </p:sp>
      <p:grpSp>
        <p:nvGrpSpPr>
          <p:cNvPr id="7" name="Award2" descr="{&quot;Key&quot;:&quot;POWER_USER_SHAPE_ICON&quot;,&quot;Value&quot;:&quot;POWER_USER_SHAPE_ICON_STYLE_1&quot;}">
            <a:extLst>
              <a:ext uri="{FF2B5EF4-FFF2-40B4-BE49-F238E27FC236}">
                <a16:creationId xmlns:a16="http://schemas.microsoft.com/office/drawing/2014/main" id="{471C68EA-2299-4048-9768-29BE3CCCA72D}"/>
              </a:ext>
            </a:extLst>
          </p:cNvPr>
          <p:cNvGrpSpPr>
            <a:grpSpLocks noChangeAspect="1"/>
          </p:cNvGrpSpPr>
          <p:nvPr>
            <p:custDataLst>
              <p:tags r:id="rId1"/>
            </p:custDataLst>
          </p:nvPr>
        </p:nvGrpSpPr>
        <p:grpSpPr>
          <a:xfrm>
            <a:off x="0" y="0"/>
            <a:ext cx="344587" cy="542925"/>
            <a:chOff x="2585735" y="108789"/>
            <a:chExt cx="344587" cy="542925"/>
          </a:xfrm>
        </p:grpSpPr>
        <p:sp>
          <p:nvSpPr>
            <p:cNvPr id="8" name="Freeform: Shape 206">
              <a:extLst>
                <a:ext uri="{FF2B5EF4-FFF2-40B4-BE49-F238E27FC236}">
                  <a16:creationId xmlns:a16="http://schemas.microsoft.com/office/drawing/2014/main" id="{F1582718-4360-43D7-8A82-7C736EEF1575}"/>
                </a:ext>
              </a:extLst>
            </p:cNvPr>
            <p:cNvSpPr>
              <a:spLocks/>
            </p:cNvSpPr>
            <p:nvPr/>
          </p:nvSpPr>
          <p:spPr bwMode="auto">
            <a:xfrm>
              <a:off x="2585735" y="108789"/>
              <a:ext cx="344587" cy="344988"/>
            </a:xfrm>
            <a:custGeom>
              <a:avLst/>
              <a:gdLst>
                <a:gd name="connsiteX0" fmla="*/ 167961 w 344587"/>
                <a:gd name="connsiteY0" fmla="*/ 276672 h 344988"/>
                <a:gd name="connsiteX1" fmla="*/ 168781 w 344587"/>
                <a:gd name="connsiteY1" fmla="*/ 281441 h 344988"/>
                <a:gd name="connsiteX2" fmla="*/ 165282 w 344587"/>
                <a:gd name="connsiteY2" fmla="*/ 284827 h 344988"/>
                <a:gd name="connsiteX3" fmla="*/ 170121 w 344587"/>
                <a:gd name="connsiteY3" fmla="*/ 285532 h 344988"/>
                <a:gd name="connsiteX4" fmla="*/ 172307 w 344587"/>
                <a:gd name="connsiteY4" fmla="*/ 289894 h 344988"/>
                <a:gd name="connsiteX5" fmla="*/ 174467 w 344587"/>
                <a:gd name="connsiteY5" fmla="*/ 285532 h 344988"/>
                <a:gd name="connsiteX6" fmla="*/ 179306 w 344587"/>
                <a:gd name="connsiteY6" fmla="*/ 284827 h 344988"/>
                <a:gd name="connsiteX7" fmla="*/ 175806 w 344587"/>
                <a:gd name="connsiteY7" fmla="*/ 281441 h 344988"/>
                <a:gd name="connsiteX8" fmla="*/ 176627 w 344587"/>
                <a:gd name="connsiteY8" fmla="*/ 276672 h 344988"/>
                <a:gd name="connsiteX9" fmla="*/ 172307 w 344587"/>
                <a:gd name="connsiteY9" fmla="*/ 278921 h 344988"/>
                <a:gd name="connsiteX10" fmla="*/ 194527 w 344587"/>
                <a:gd name="connsiteY10" fmla="*/ 274468 h 344988"/>
                <a:gd name="connsiteX11" fmla="*/ 190704 w 344587"/>
                <a:gd name="connsiteY11" fmla="*/ 277391 h 344988"/>
                <a:gd name="connsiteX12" fmla="*/ 186127 w 344587"/>
                <a:gd name="connsiteY12" fmla="*/ 275943 h 344988"/>
                <a:gd name="connsiteX13" fmla="*/ 187742 w 344587"/>
                <a:gd name="connsiteY13" fmla="*/ 280475 h 344988"/>
                <a:gd name="connsiteX14" fmla="*/ 184915 w 344587"/>
                <a:gd name="connsiteY14" fmla="*/ 284363 h 344988"/>
                <a:gd name="connsiteX15" fmla="*/ 189761 w 344587"/>
                <a:gd name="connsiteY15" fmla="*/ 284229 h 344988"/>
                <a:gd name="connsiteX16" fmla="*/ 192615 w 344587"/>
                <a:gd name="connsiteY16" fmla="*/ 288091 h 344988"/>
                <a:gd name="connsiteX17" fmla="*/ 193961 w 344587"/>
                <a:gd name="connsiteY17" fmla="*/ 283479 h 344988"/>
                <a:gd name="connsiteX18" fmla="*/ 198538 w 344587"/>
                <a:gd name="connsiteY18" fmla="*/ 281977 h 344988"/>
                <a:gd name="connsiteX19" fmla="*/ 194554 w 344587"/>
                <a:gd name="connsiteY19" fmla="*/ 279268 h 344988"/>
                <a:gd name="connsiteX20" fmla="*/ 149919 w 344587"/>
                <a:gd name="connsiteY20" fmla="*/ 274468 h 344988"/>
                <a:gd name="connsiteX21" fmla="*/ 149892 w 344587"/>
                <a:gd name="connsiteY21" fmla="*/ 279268 h 344988"/>
                <a:gd name="connsiteX22" fmla="*/ 145849 w 344587"/>
                <a:gd name="connsiteY22" fmla="*/ 281977 h 344988"/>
                <a:gd name="connsiteX23" fmla="*/ 150493 w 344587"/>
                <a:gd name="connsiteY23" fmla="*/ 283479 h 344988"/>
                <a:gd name="connsiteX24" fmla="*/ 151859 w 344587"/>
                <a:gd name="connsiteY24" fmla="*/ 288091 h 344988"/>
                <a:gd name="connsiteX25" fmla="*/ 154755 w 344587"/>
                <a:gd name="connsiteY25" fmla="*/ 284229 h 344988"/>
                <a:gd name="connsiteX26" fmla="*/ 159672 w 344587"/>
                <a:gd name="connsiteY26" fmla="*/ 284363 h 344988"/>
                <a:gd name="connsiteX27" fmla="*/ 156804 w 344587"/>
                <a:gd name="connsiteY27" fmla="*/ 280475 h 344988"/>
                <a:gd name="connsiteX28" fmla="*/ 158443 w 344587"/>
                <a:gd name="connsiteY28" fmla="*/ 275943 h 344988"/>
                <a:gd name="connsiteX29" fmla="*/ 153798 w 344587"/>
                <a:gd name="connsiteY29" fmla="*/ 277391 h 344988"/>
                <a:gd name="connsiteX30" fmla="*/ 211844 w 344587"/>
                <a:gd name="connsiteY30" fmla="*/ 268858 h 344988"/>
                <a:gd name="connsiteX31" fmla="*/ 208584 w 344587"/>
                <a:gd name="connsiteY31" fmla="*/ 272467 h 344988"/>
                <a:gd name="connsiteX32" fmla="*/ 203747 w 344587"/>
                <a:gd name="connsiteY32" fmla="*/ 271811 h 344988"/>
                <a:gd name="connsiteX33" fmla="*/ 206165 w 344587"/>
                <a:gd name="connsiteY33" fmla="*/ 276075 h 344988"/>
                <a:gd name="connsiteX34" fmla="*/ 204046 w 344587"/>
                <a:gd name="connsiteY34" fmla="*/ 280504 h 344988"/>
                <a:gd name="connsiteX35" fmla="*/ 208828 w 344587"/>
                <a:gd name="connsiteY35" fmla="*/ 279492 h 344988"/>
                <a:gd name="connsiteX36" fmla="*/ 212334 w 344587"/>
                <a:gd name="connsiteY36" fmla="*/ 282882 h 344988"/>
                <a:gd name="connsiteX37" fmla="*/ 212877 w 344587"/>
                <a:gd name="connsiteY37" fmla="*/ 278016 h 344988"/>
                <a:gd name="connsiteX38" fmla="*/ 217170 w 344587"/>
                <a:gd name="connsiteY38" fmla="*/ 275693 h 344988"/>
                <a:gd name="connsiteX39" fmla="*/ 212714 w 344587"/>
                <a:gd name="connsiteY39" fmla="*/ 273670 h 344988"/>
                <a:gd name="connsiteX40" fmla="*/ 132663 w 344587"/>
                <a:gd name="connsiteY40" fmla="*/ 268858 h 344988"/>
                <a:gd name="connsiteX41" fmla="*/ 131807 w 344587"/>
                <a:gd name="connsiteY41" fmla="*/ 273670 h 344988"/>
                <a:gd name="connsiteX42" fmla="*/ 127417 w 344587"/>
                <a:gd name="connsiteY42" fmla="*/ 275693 h 344988"/>
                <a:gd name="connsiteX43" fmla="*/ 131646 w 344587"/>
                <a:gd name="connsiteY43" fmla="*/ 278016 h 344988"/>
                <a:gd name="connsiteX44" fmla="*/ 132182 w 344587"/>
                <a:gd name="connsiteY44" fmla="*/ 282882 h 344988"/>
                <a:gd name="connsiteX45" fmla="*/ 135635 w 344587"/>
                <a:gd name="connsiteY45" fmla="*/ 279492 h 344988"/>
                <a:gd name="connsiteX46" fmla="*/ 140345 w 344587"/>
                <a:gd name="connsiteY46" fmla="*/ 280504 h 344988"/>
                <a:gd name="connsiteX47" fmla="*/ 138258 w 344587"/>
                <a:gd name="connsiteY47" fmla="*/ 276075 h 344988"/>
                <a:gd name="connsiteX48" fmla="*/ 140640 w 344587"/>
                <a:gd name="connsiteY48" fmla="*/ 271811 h 344988"/>
                <a:gd name="connsiteX49" fmla="*/ 135875 w 344587"/>
                <a:gd name="connsiteY49" fmla="*/ 272467 h 344988"/>
                <a:gd name="connsiteX50" fmla="*/ 228015 w 344587"/>
                <a:gd name="connsiteY50" fmla="*/ 260644 h 344988"/>
                <a:gd name="connsiteX51" fmla="*/ 225418 w 344587"/>
                <a:gd name="connsiteY51" fmla="*/ 264769 h 344988"/>
                <a:gd name="connsiteX52" fmla="*/ 220576 w 344587"/>
                <a:gd name="connsiteY52" fmla="*/ 264959 h 344988"/>
                <a:gd name="connsiteX53" fmla="*/ 223687 w 344587"/>
                <a:gd name="connsiteY53" fmla="*/ 268704 h 344988"/>
                <a:gd name="connsiteX54" fmla="*/ 222361 w 344587"/>
                <a:gd name="connsiteY54" fmla="*/ 273372 h 344988"/>
                <a:gd name="connsiteX55" fmla="*/ 226879 w 344587"/>
                <a:gd name="connsiteY55" fmla="*/ 271581 h 344988"/>
                <a:gd name="connsiteX56" fmla="*/ 230910 w 344587"/>
                <a:gd name="connsiteY56" fmla="*/ 274268 h 344988"/>
                <a:gd name="connsiteX57" fmla="*/ 230585 w 344587"/>
                <a:gd name="connsiteY57" fmla="*/ 269410 h 344988"/>
                <a:gd name="connsiteX58" fmla="*/ 234399 w 344587"/>
                <a:gd name="connsiteY58" fmla="*/ 266398 h 344988"/>
                <a:gd name="connsiteX59" fmla="*/ 229692 w 344587"/>
                <a:gd name="connsiteY59" fmla="*/ 265204 h 344988"/>
                <a:gd name="connsiteX60" fmla="*/ 116572 w 344587"/>
                <a:gd name="connsiteY60" fmla="*/ 260644 h 344988"/>
                <a:gd name="connsiteX61" fmla="*/ 114895 w 344587"/>
                <a:gd name="connsiteY61" fmla="*/ 265204 h 344988"/>
                <a:gd name="connsiteX62" fmla="*/ 110188 w 344587"/>
                <a:gd name="connsiteY62" fmla="*/ 266398 h 344988"/>
                <a:gd name="connsiteX63" fmla="*/ 114002 w 344587"/>
                <a:gd name="connsiteY63" fmla="*/ 269410 h 344988"/>
                <a:gd name="connsiteX64" fmla="*/ 113678 w 344587"/>
                <a:gd name="connsiteY64" fmla="*/ 274268 h 344988"/>
                <a:gd name="connsiteX65" fmla="*/ 117708 w 344587"/>
                <a:gd name="connsiteY65" fmla="*/ 271581 h 344988"/>
                <a:gd name="connsiteX66" fmla="*/ 122226 w 344587"/>
                <a:gd name="connsiteY66" fmla="*/ 273372 h 344988"/>
                <a:gd name="connsiteX67" fmla="*/ 120900 w 344587"/>
                <a:gd name="connsiteY67" fmla="*/ 268704 h 344988"/>
                <a:gd name="connsiteX68" fmla="*/ 124011 w 344587"/>
                <a:gd name="connsiteY68" fmla="*/ 264959 h 344988"/>
                <a:gd name="connsiteX69" fmla="*/ 119169 w 344587"/>
                <a:gd name="connsiteY69" fmla="*/ 264769 h 344988"/>
                <a:gd name="connsiteX70" fmla="*/ 242363 w 344587"/>
                <a:gd name="connsiteY70" fmla="*/ 249625 h 344988"/>
                <a:gd name="connsiteX71" fmla="*/ 240527 w 344587"/>
                <a:gd name="connsiteY71" fmla="*/ 254100 h 344988"/>
                <a:gd name="connsiteX72" fmla="*/ 235802 w 344587"/>
                <a:gd name="connsiteY72" fmla="*/ 255124 h 344988"/>
                <a:gd name="connsiteX73" fmla="*/ 239501 w 344587"/>
                <a:gd name="connsiteY73" fmla="*/ 258251 h 344988"/>
                <a:gd name="connsiteX74" fmla="*/ 239015 w 344587"/>
                <a:gd name="connsiteY74" fmla="*/ 263048 h 344988"/>
                <a:gd name="connsiteX75" fmla="*/ 243119 w 344587"/>
                <a:gd name="connsiteY75" fmla="*/ 260515 h 344988"/>
                <a:gd name="connsiteX76" fmla="*/ 247546 w 344587"/>
                <a:gd name="connsiteY76" fmla="*/ 262455 h 344988"/>
                <a:gd name="connsiteX77" fmla="*/ 246413 w 344587"/>
                <a:gd name="connsiteY77" fmla="*/ 257766 h 344988"/>
                <a:gd name="connsiteX78" fmla="*/ 249625 w 344587"/>
                <a:gd name="connsiteY78" fmla="*/ 254154 h 344988"/>
                <a:gd name="connsiteX79" fmla="*/ 244792 w 344587"/>
                <a:gd name="connsiteY79" fmla="*/ 253776 h 344988"/>
                <a:gd name="connsiteX80" fmla="*/ 102024 w 344587"/>
                <a:gd name="connsiteY80" fmla="*/ 249625 h 344988"/>
                <a:gd name="connsiteX81" fmla="*/ 99594 w 344587"/>
                <a:gd name="connsiteY81" fmla="*/ 253776 h 344988"/>
                <a:gd name="connsiteX82" fmla="*/ 94762 w 344587"/>
                <a:gd name="connsiteY82" fmla="*/ 254154 h 344988"/>
                <a:gd name="connsiteX83" fmla="*/ 97975 w 344587"/>
                <a:gd name="connsiteY83" fmla="*/ 257766 h 344988"/>
                <a:gd name="connsiteX84" fmla="*/ 96841 w 344587"/>
                <a:gd name="connsiteY84" fmla="*/ 262455 h 344988"/>
                <a:gd name="connsiteX85" fmla="*/ 101268 w 344587"/>
                <a:gd name="connsiteY85" fmla="*/ 260515 h 344988"/>
                <a:gd name="connsiteX86" fmla="*/ 105372 w 344587"/>
                <a:gd name="connsiteY86" fmla="*/ 263048 h 344988"/>
                <a:gd name="connsiteX87" fmla="*/ 104886 w 344587"/>
                <a:gd name="connsiteY87" fmla="*/ 258251 h 344988"/>
                <a:gd name="connsiteX88" fmla="*/ 108585 w 344587"/>
                <a:gd name="connsiteY88" fmla="*/ 255124 h 344988"/>
                <a:gd name="connsiteX89" fmla="*/ 103860 w 344587"/>
                <a:gd name="connsiteY89" fmla="*/ 254100 h 344988"/>
                <a:gd name="connsiteX90" fmla="*/ 254712 w 344587"/>
                <a:gd name="connsiteY90" fmla="*/ 236203 h 344988"/>
                <a:gd name="connsiteX91" fmla="*/ 253690 w 344587"/>
                <a:gd name="connsiteY91" fmla="*/ 240928 h 344988"/>
                <a:gd name="connsiteX92" fmla="*/ 249225 w 344587"/>
                <a:gd name="connsiteY92" fmla="*/ 242764 h 344988"/>
                <a:gd name="connsiteX93" fmla="*/ 253394 w 344587"/>
                <a:gd name="connsiteY93" fmla="*/ 245220 h 344988"/>
                <a:gd name="connsiteX94" fmla="*/ 253771 w 344587"/>
                <a:gd name="connsiteY94" fmla="*/ 250026 h 344988"/>
                <a:gd name="connsiteX95" fmla="*/ 257348 w 344587"/>
                <a:gd name="connsiteY95" fmla="*/ 246813 h 344988"/>
                <a:gd name="connsiteX96" fmla="*/ 262056 w 344587"/>
                <a:gd name="connsiteY96" fmla="*/ 247974 h 344988"/>
                <a:gd name="connsiteX97" fmla="*/ 260119 w 344587"/>
                <a:gd name="connsiteY97" fmla="*/ 243520 h 344988"/>
                <a:gd name="connsiteX98" fmla="*/ 262648 w 344587"/>
                <a:gd name="connsiteY98" fmla="*/ 239416 h 344988"/>
                <a:gd name="connsiteX99" fmla="*/ 257833 w 344587"/>
                <a:gd name="connsiteY99" fmla="*/ 239902 h 344988"/>
                <a:gd name="connsiteX100" fmla="*/ 89793 w 344587"/>
                <a:gd name="connsiteY100" fmla="*/ 236203 h 344988"/>
                <a:gd name="connsiteX101" fmla="*/ 86626 w 344587"/>
                <a:gd name="connsiteY101" fmla="*/ 239902 h 344988"/>
                <a:gd name="connsiteX102" fmla="*/ 81739 w 344587"/>
                <a:gd name="connsiteY102" fmla="*/ 239416 h 344988"/>
                <a:gd name="connsiteX103" fmla="*/ 84333 w 344587"/>
                <a:gd name="connsiteY103" fmla="*/ 243520 h 344988"/>
                <a:gd name="connsiteX104" fmla="*/ 82340 w 344587"/>
                <a:gd name="connsiteY104" fmla="*/ 247974 h 344988"/>
                <a:gd name="connsiteX105" fmla="*/ 87118 w 344587"/>
                <a:gd name="connsiteY105" fmla="*/ 246813 h 344988"/>
                <a:gd name="connsiteX106" fmla="*/ 90749 w 344587"/>
                <a:gd name="connsiteY106" fmla="*/ 250026 h 344988"/>
                <a:gd name="connsiteX107" fmla="*/ 91131 w 344587"/>
                <a:gd name="connsiteY107" fmla="*/ 245220 h 344988"/>
                <a:gd name="connsiteX108" fmla="*/ 95363 w 344587"/>
                <a:gd name="connsiteY108" fmla="*/ 242764 h 344988"/>
                <a:gd name="connsiteX109" fmla="*/ 90831 w 344587"/>
                <a:gd name="connsiteY109" fmla="*/ 240928 h 344988"/>
                <a:gd name="connsiteX110" fmla="*/ 264558 w 344587"/>
                <a:gd name="connsiteY110" fmla="*/ 220977 h 344988"/>
                <a:gd name="connsiteX111" fmla="*/ 264341 w 344587"/>
                <a:gd name="connsiteY111" fmla="*/ 225819 h 344988"/>
                <a:gd name="connsiteX112" fmla="*/ 260243 w 344587"/>
                <a:gd name="connsiteY112" fmla="*/ 228416 h 344988"/>
                <a:gd name="connsiteX113" fmla="*/ 264803 w 344587"/>
                <a:gd name="connsiteY113" fmla="*/ 230093 h 344988"/>
                <a:gd name="connsiteX114" fmla="*/ 265997 w 344587"/>
                <a:gd name="connsiteY114" fmla="*/ 234800 h 344988"/>
                <a:gd name="connsiteX115" fmla="*/ 269009 w 344587"/>
                <a:gd name="connsiteY115" fmla="*/ 230986 h 344988"/>
                <a:gd name="connsiteX116" fmla="*/ 273867 w 344587"/>
                <a:gd name="connsiteY116" fmla="*/ 231311 h 344988"/>
                <a:gd name="connsiteX117" fmla="*/ 271180 w 344587"/>
                <a:gd name="connsiteY117" fmla="*/ 227280 h 344988"/>
                <a:gd name="connsiteX118" fmla="*/ 272971 w 344587"/>
                <a:gd name="connsiteY118" fmla="*/ 222762 h 344988"/>
                <a:gd name="connsiteX119" fmla="*/ 268276 w 344587"/>
                <a:gd name="connsiteY119" fmla="*/ 224088 h 344988"/>
                <a:gd name="connsiteX120" fmla="*/ 80029 w 344587"/>
                <a:gd name="connsiteY120" fmla="*/ 220977 h 344988"/>
                <a:gd name="connsiteX121" fmla="*/ 76311 w 344587"/>
                <a:gd name="connsiteY121" fmla="*/ 224088 h 344988"/>
                <a:gd name="connsiteX122" fmla="*/ 71616 w 344587"/>
                <a:gd name="connsiteY122" fmla="*/ 222762 h 344988"/>
                <a:gd name="connsiteX123" fmla="*/ 73407 w 344587"/>
                <a:gd name="connsiteY123" fmla="*/ 227280 h 344988"/>
                <a:gd name="connsiteX124" fmla="*/ 70721 w 344587"/>
                <a:gd name="connsiteY124" fmla="*/ 231311 h 344988"/>
                <a:gd name="connsiteX125" fmla="*/ 75578 w 344587"/>
                <a:gd name="connsiteY125" fmla="*/ 230986 h 344988"/>
                <a:gd name="connsiteX126" fmla="*/ 78590 w 344587"/>
                <a:gd name="connsiteY126" fmla="*/ 234800 h 344988"/>
                <a:gd name="connsiteX127" fmla="*/ 79785 w 344587"/>
                <a:gd name="connsiteY127" fmla="*/ 230093 h 344988"/>
                <a:gd name="connsiteX128" fmla="*/ 84344 w 344587"/>
                <a:gd name="connsiteY128" fmla="*/ 228416 h 344988"/>
                <a:gd name="connsiteX129" fmla="*/ 80246 w 344587"/>
                <a:gd name="connsiteY129" fmla="*/ 225819 h 344988"/>
                <a:gd name="connsiteX130" fmla="*/ 271410 w 344587"/>
                <a:gd name="connsiteY130" fmla="*/ 204148 h 344988"/>
                <a:gd name="connsiteX131" fmla="*/ 272066 w 344587"/>
                <a:gd name="connsiteY131" fmla="*/ 208985 h 344988"/>
                <a:gd name="connsiteX132" fmla="*/ 268457 w 344587"/>
                <a:gd name="connsiteY132" fmla="*/ 212245 h 344988"/>
                <a:gd name="connsiteX133" fmla="*/ 273269 w 344587"/>
                <a:gd name="connsiteY133" fmla="*/ 213115 h 344988"/>
                <a:gd name="connsiteX134" fmla="*/ 275292 w 344587"/>
                <a:gd name="connsiteY134" fmla="*/ 217571 h 344988"/>
                <a:gd name="connsiteX135" fmla="*/ 277615 w 344587"/>
                <a:gd name="connsiteY135" fmla="*/ 213278 h 344988"/>
                <a:gd name="connsiteX136" fmla="*/ 282481 w 344587"/>
                <a:gd name="connsiteY136" fmla="*/ 212734 h 344988"/>
                <a:gd name="connsiteX137" fmla="*/ 279091 w 344587"/>
                <a:gd name="connsiteY137" fmla="*/ 209229 h 344988"/>
                <a:gd name="connsiteX138" fmla="*/ 280076 w 344587"/>
                <a:gd name="connsiteY138" fmla="*/ 204447 h 344988"/>
                <a:gd name="connsiteX139" fmla="*/ 275674 w 344587"/>
                <a:gd name="connsiteY139" fmla="*/ 206566 h 344988"/>
                <a:gd name="connsiteX140" fmla="*/ 73019 w 344587"/>
                <a:gd name="connsiteY140" fmla="*/ 204148 h 344988"/>
                <a:gd name="connsiteX141" fmla="*/ 68816 w 344587"/>
                <a:gd name="connsiteY141" fmla="*/ 206566 h 344988"/>
                <a:gd name="connsiteX142" fmla="*/ 64477 w 344587"/>
                <a:gd name="connsiteY142" fmla="*/ 204447 h 344988"/>
                <a:gd name="connsiteX143" fmla="*/ 65447 w 344587"/>
                <a:gd name="connsiteY143" fmla="*/ 209229 h 344988"/>
                <a:gd name="connsiteX144" fmla="*/ 62106 w 344587"/>
                <a:gd name="connsiteY144" fmla="*/ 212734 h 344988"/>
                <a:gd name="connsiteX145" fmla="*/ 66903 w 344587"/>
                <a:gd name="connsiteY145" fmla="*/ 213278 h 344988"/>
                <a:gd name="connsiteX146" fmla="*/ 69193 w 344587"/>
                <a:gd name="connsiteY146" fmla="*/ 217571 h 344988"/>
                <a:gd name="connsiteX147" fmla="*/ 71187 w 344587"/>
                <a:gd name="connsiteY147" fmla="*/ 213115 h 344988"/>
                <a:gd name="connsiteX148" fmla="*/ 75929 w 344587"/>
                <a:gd name="connsiteY148" fmla="*/ 212245 h 344988"/>
                <a:gd name="connsiteX149" fmla="*/ 72373 w 344587"/>
                <a:gd name="connsiteY149" fmla="*/ 208985 h 344988"/>
                <a:gd name="connsiteX150" fmla="*/ 283915 w 344587"/>
                <a:gd name="connsiteY150" fmla="*/ 185116 h 344988"/>
                <a:gd name="connsiteX151" fmla="*/ 279950 w 344587"/>
                <a:gd name="connsiteY151" fmla="*/ 187963 h 344988"/>
                <a:gd name="connsiteX152" fmla="*/ 275388 w 344587"/>
                <a:gd name="connsiteY152" fmla="*/ 186320 h 344988"/>
                <a:gd name="connsiteX153" fmla="*/ 276854 w 344587"/>
                <a:gd name="connsiteY153" fmla="*/ 191001 h 344988"/>
                <a:gd name="connsiteX154" fmla="*/ 273867 w 344587"/>
                <a:gd name="connsiteY154" fmla="*/ 194861 h 344988"/>
                <a:gd name="connsiteX155" fmla="*/ 278755 w 344587"/>
                <a:gd name="connsiteY155" fmla="*/ 194888 h 344988"/>
                <a:gd name="connsiteX156" fmla="*/ 281498 w 344587"/>
                <a:gd name="connsiteY156" fmla="*/ 198939 h 344988"/>
                <a:gd name="connsiteX157" fmla="*/ 283019 w 344587"/>
                <a:gd name="connsiteY157" fmla="*/ 194286 h 344988"/>
                <a:gd name="connsiteX158" fmla="*/ 287690 w 344587"/>
                <a:gd name="connsiteY158" fmla="*/ 192917 h 344988"/>
                <a:gd name="connsiteX159" fmla="*/ 283780 w 344587"/>
                <a:gd name="connsiteY159" fmla="*/ 190015 h 344988"/>
                <a:gd name="connsiteX160" fmla="*/ 60472 w 344587"/>
                <a:gd name="connsiteY160" fmla="*/ 185116 h 344988"/>
                <a:gd name="connsiteX161" fmla="*/ 60608 w 344587"/>
                <a:gd name="connsiteY161" fmla="*/ 190015 h 344988"/>
                <a:gd name="connsiteX162" fmla="*/ 56697 w 344587"/>
                <a:gd name="connsiteY162" fmla="*/ 192917 h 344988"/>
                <a:gd name="connsiteX163" fmla="*/ 61368 w 344587"/>
                <a:gd name="connsiteY163" fmla="*/ 194286 h 344988"/>
                <a:gd name="connsiteX164" fmla="*/ 62889 w 344587"/>
                <a:gd name="connsiteY164" fmla="*/ 198939 h 344988"/>
                <a:gd name="connsiteX165" fmla="*/ 65632 w 344587"/>
                <a:gd name="connsiteY165" fmla="*/ 194888 h 344988"/>
                <a:gd name="connsiteX166" fmla="*/ 70520 w 344587"/>
                <a:gd name="connsiteY166" fmla="*/ 194861 h 344988"/>
                <a:gd name="connsiteX167" fmla="*/ 67533 w 344587"/>
                <a:gd name="connsiteY167" fmla="*/ 191001 h 344988"/>
                <a:gd name="connsiteX168" fmla="*/ 68999 w 344587"/>
                <a:gd name="connsiteY168" fmla="*/ 186320 h 344988"/>
                <a:gd name="connsiteX169" fmla="*/ 64437 w 344587"/>
                <a:gd name="connsiteY169" fmla="*/ 187963 h 344988"/>
                <a:gd name="connsiteX170" fmla="*/ 284437 w 344587"/>
                <a:gd name="connsiteY170" fmla="*/ 165482 h 344988"/>
                <a:gd name="connsiteX171" fmla="*/ 281057 w 344587"/>
                <a:gd name="connsiteY171" fmla="*/ 168981 h 344988"/>
                <a:gd name="connsiteX172" fmla="*/ 276271 w 344587"/>
                <a:gd name="connsiteY172" fmla="*/ 168161 h 344988"/>
                <a:gd name="connsiteX173" fmla="*/ 278542 w 344587"/>
                <a:gd name="connsiteY173" fmla="*/ 172508 h 344988"/>
                <a:gd name="connsiteX174" fmla="*/ 276271 w 344587"/>
                <a:gd name="connsiteY174" fmla="*/ 176827 h 344988"/>
                <a:gd name="connsiteX175" fmla="*/ 281057 w 344587"/>
                <a:gd name="connsiteY175" fmla="*/ 176007 h 344988"/>
                <a:gd name="connsiteX176" fmla="*/ 284437 w 344587"/>
                <a:gd name="connsiteY176" fmla="*/ 179506 h 344988"/>
                <a:gd name="connsiteX177" fmla="*/ 285140 w 344587"/>
                <a:gd name="connsiteY177" fmla="*/ 174667 h 344988"/>
                <a:gd name="connsiteX178" fmla="*/ 289493 w 344587"/>
                <a:gd name="connsiteY178" fmla="*/ 172508 h 344988"/>
                <a:gd name="connsiteX179" fmla="*/ 285140 w 344587"/>
                <a:gd name="connsiteY179" fmla="*/ 170321 h 344988"/>
                <a:gd name="connsiteX180" fmla="*/ 60027 w 344587"/>
                <a:gd name="connsiteY180" fmla="*/ 165482 h 344988"/>
                <a:gd name="connsiteX181" fmla="*/ 59313 w 344587"/>
                <a:gd name="connsiteY181" fmla="*/ 170321 h 344988"/>
                <a:gd name="connsiteX182" fmla="*/ 54894 w 344587"/>
                <a:gd name="connsiteY182" fmla="*/ 172508 h 344988"/>
                <a:gd name="connsiteX183" fmla="*/ 59313 w 344587"/>
                <a:gd name="connsiteY183" fmla="*/ 174667 h 344988"/>
                <a:gd name="connsiteX184" fmla="*/ 60027 w 344587"/>
                <a:gd name="connsiteY184" fmla="*/ 179506 h 344988"/>
                <a:gd name="connsiteX185" fmla="*/ 63458 w 344587"/>
                <a:gd name="connsiteY185" fmla="*/ 176007 h 344988"/>
                <a:gd name="connsiteX186" fmla="*/ 68317 w 344587"/>
                <a:gd name="connsiteY186" fmla="*/ 176827 h 344988"/>
                <a:gd name="connsiteX187" fmla="*/ 66011 w 344587"/>
                <a:gd name="connsiteY187" fmla="*/ 172508 h 344988"/>
                <a:gd name="connsiteX188" fmla="*/ 68317 w 344587"/>
                <a:gd name="connsiteY188" fmla="*/ 168161 h 344988"/>
                <a:gd name="connsiteX189" fmla="*/ 63458 w 344587"/>
                <a:gd name="connsiteY189" fmla="*/ 168981 h 344988"/>
                <a:gd name="connsiteX190" fmla="*/ 281498 w 344587"/>
                <a:gd name="connsiteY190" fmla="*/ 146049 h 344988"/>
                <a:gd name="connsiteX191" fmla="*/ 278755 w 344587"/>
                <a:gd name="connsiteY191" fmla="*/ 150092 h 344988"/>
                <a:gd name="connsiteX192" fmla="*/ 273867 w 344587"/>
                <a:gd name="connsiteY192" fmla="*/ 150120 h 344988"/>
                <a:gd name="connsiteX193" fmla="*/ 276854 w 344587"/>
                <a:gd name="connsiteY193" fmla="*/ 153999 h 344988"/>
                <a:gd name="connsiteX194" fmla="*/ 275388 w 344587"/>
                <a:gd name="connsiteY194" fmla="*/ 158670 h 344988"/>
                <a:gd name="connsiteX195" fmla="*/ 279950 w 344587"/>
                <a:gd name="connsiteY195" fmla="*/ 157004 h 344988"/>
                <a:gd name="connsiteX196" fmla="*/ 283915 w 344587"/>
                <a:gd name="connsiteY196" fmla="*/ 159872 h 344988"/>
                <a:gd name="connsiteX197" fmla="*/ 283780 w 344587"/>
                <a:gd name="connsiteY197" fmla="*/ 154955 h 344988"/>
                <a:gd name="connsiteX198" fmla="*/ 287690 w 344587"/>
                <a:gd name="connsiteY198" fmla="*/ 152059 h 344988"/>
                <a:gd name="connsiteX199" fmla="*/ 283019 w 344587"/>
                <a:gd name="connsiteY199" fmla="*/ 150693 h 344988"/>
                <a:gd name="connsiteX200" fmla="*/ 62889 w 344587"/>
                <a:gd name="connsiteY200" fmla="*/ 146049 h 344988"/>
                <a:gd name="connsiteX201" fmla="*/ 61368 w 344587"/>
                <a:gd name="connsiteY201" fmla="*/ 150693 h 344988"/>
                <a:gd name="connsiteX202" fmla="*/ 56697 w 344587"/>
                <a:gd name="connsiteY202" fmla="*/ 152059 h 344988"/>
                <a:gd name="connsiteX203" fmla="*/ 60608 w 344587"/>
                <a:gd name="connsiteY203" fmla="*/ 154955 h 344988"/>
                <a:gd name="connsiteX204" fmla="*/ 60472 w 344587"/>
                <a:gd name="connsiteY204" fmla="*/ 159872 h 344988"/>
                <a:gd name="connsiteX205" fmla="*/ 64437 w 344587"/>
                <a:gd name="connsiteY205" fmla="*/ 157004 h 344988"/>
                <a:gd name="connsiteX206" fmla="*/ 68999 w 344587"/>
                <a:gd name="connsiteY206" fmla="*/ 158670 h 344988"/>
                <a:gd name="connsiteX207" fmla="*/ 67533 w 344587"/>
                <a:gd name="connsiteY207" fmla="*/ 153999 h 344988"/>
                <a:gd name="connsiteX208" fmla="*/ 70520 w 344587"/>
                <a:gd name="connsiteY208" fmla="*/ 150120 h 344988"/>
                <a:gd name="connsiteX209" fmla="*/ 65632 w 344587"/>
                <a:gd name="connsiteY209" fmla="*/ 150092 h 344988"/>
                <a:gd name="connsiteX210" fmla="*/ 275292 w 344587"/>
                <a:gd name="connsiteY210" fmla="*/ 127618 h 344988"/>
                <a:gd name="connsiteX211" fmla="*/ 273269 w 344587"/>
                <a:gd name="connsiteY211" fmla="*/ 132007 h 344988"/>
                <a:gd name="connsiteX212" fmla="*/ 268457 w 344587"/>
                <a:gd name="connsiteY212" fmla="*/ 132864 h 344988"/>
                <a:gd name="connsiteX213" fmla="*/ 272066 w 344587"/>
                <a:gd name="connsiteY213" fmla="*/ 136103 h 344988"/>
                <a:gd name="connsiteX214" fmla="*/ 271410 w 344587"/>
                <a:gd name="connsiteY214" fmla="*/ 140840 h 344988"/>
                <a:gd name="connsiteX215" fmla="*/ 275674 w 344587"/>
                <a:gd name="connsiteY215" fmla="*/ 138458 h 344988"/>
                <a:gd name="connsiteX216" fmla="*/ 280076 w 344587"/>
                <a:gd name="connsiteY216" fmla="*/ 140546 h 344988"/>
                <a:gd name="connsiteX217" fmla="*/ 279091 w 344587"/>
                <a:gd name="connsiteY217" fmla="*/ 135862 h 344988"/>
                <a:gd name="connsiteX218" fmla="*/ 282481 w 344587"/>
                <a:gd name="connsiteY218" fmla="*/ 132382 h 344988"/>
                <a:gd name="connsiteX219" fmla="*/ 277615 w 344587"/>
                <a:gd name="connsiteY219" fmla="*/ 131847 h 344988"/>
                <a:gd name="connsiteX220" fmla="*/ 69193 w 344587"/>
                <a:gd name="connsiteY220" fmla="*/ 127618 h 344988"/>
                <a:gd name="connsiteX221" fmla="*/ 66903 w 344587"/>
                <a:gd name="connsiteY221" fmla="*/ 131847 h 344988"/>
                <a:gd name="connsiteX222" fmla="*/ 62106 w 344587"/>
                <a:gd name="connsiteY222" fmla="*/ 132382 h 344988"/>
                <a:gd name="connsiteX223" fmla="*/ 65447 w 344587"/>
                <a:gd name="connsiteY223" fmla="*/ 135862 h 344988"/>
                <a:gd name="connsiteX224" fmla="*/ 64477 w 344587"/>
                <a:gd name="connsiteY224" fmla="*/ 140546 h 344988"/>
                <a:gd name="connsiteX225" fmla="*/ 68816 w 344587"/>
                <a:gd name="connsiteY225" fmla="*/ 138458 h 344988"/>
                <a:gd name="connsiteX226" fmla="*/ 73019 w 344587"/>
                <a:gd name="connsiteY226" fmla="*/ 140840 h 344988"/>
                <a:gd name="connsiteX227" fmla="*/ 72373 w 344587"/>
                <a:gd name="connsiteY227" fmla="*/ 136103 h 344988"/>
                <a:gd name="connsiteX228" fmla="*/ 75929 w 344587"/>
                <a:gd name="connsiteY228" fmla="*/ 132864 h 344988"/>
                <a:gd name="connsiteX229" fmla="*/ 71187 w 344587"/>
                <a:gd name="connsiteY229" fmla="*/ 132007 h 344988"/>
                <a:gd name="connsiteX230" fmla="*/ 265997 w 344587"/>
                <a:gd name="connsiteY230" fmla="*/ 110188 h 344988"/>
                <a:gd name="connsiteX231" fmla="*/ 264803 w 344587"/>
                <a:gd name="connsiteY231" fmla="*/ 114963 h 344988"/>
                <a:gd name="connsiteX232" fmla="*/ 260243 w 344587"/>
                <a:gd name="connsiteY232" fmla="*/ 116665 h 344988"/>
                <a:gd name="connsiteX233" fmla="*/ 264341 w 344587"/>
                <a:gd name="connsiteY233" fmla="*/ 119299 h 344988"/>
                <a:gd name="connsiteX234" fmla="*/ 264558 w 344587"/>
                <a:gd name="connsiteY234" fmla="*/ 124212 h 344988"/>
                <a:gd name="connsiteX235" fmla="*/ 268276 w 344587"/>
                <a:gd name="connsiteY235" fmla="*/ 121083 h 344988"/>
                <a:gd name="connsiteX236" fmla="*/ 272971 w 344587"/>
                <a:gd name="connsiteY236" fmla="*/ 122401 h 344988"/>
                <a:gd name="connsiteX237" fmla="*/ 271180 w 344587"/>
                <a:gd name="connsiteY237" fmla="*/ 117845 h 344988"/>
                <a:gd name="connsiteX238" fmla="*/ 273867 w 344587"/>
                <a:gd name="connsiteY238" fmla="*/ 113756 h 344988"/>
                <a:gd name="connsiteX239" fmla="*/ 269009 w 344587"/>
                <a:gd name="connsiteY239" fmla="*/ 114057 h 344988"/>
                <a:gd name="connsiteX240" fmla="*/ 78590 w 344587"/>
                <a:gd name="connsiteY240" fmla="*/ 110188 h 344988"/>
                <a:gd name="connsiteX241" fmla="*/ 75578 w 344587"/>
                <a:gd name="connsiteY241" fmla="*/ 114057 h 344988"/>
                <a:gd name="connsiteX242" fmla="*/ 70721 w 344587"/>
                <a:gd name="connsiteY242" fmla="*/ 113756 h 344988"/>
                <a:gd name="connsiteX243" fmla="*/ 73407 w 344587"/>
                <a:gd name="connsiteY243" fmla="*/ 117845 h 344988"/>
                <a:gd name="connsiteX244" fmla="*/ 71616 w 344587"/>
                <a:gd name="connsiteY244" fmla="*/ 122401 h 344988"/>
                <a:gd name="connsiteX245" fmla="*/ 76311 w 344587"/>
                <a:gd name="connsiteY245" fmla="*/ 121083 h 344988"/>
                <a:gd name="connsiteX246" fmla="*/ 80029 w 344587"/>
                <a:gd name="connsiteY246" fmla="*/ 124212 h 344988"/>
                <a:gd name="connsiteX247" fmla="*/ 80246 w 344587"/>
                <a:gd name="connsiteY247" fmla="*/ 119299 h 344988"/>
                <a:gd name="connsiteX248" fmla="*/ 84344 w 344587"/>
                <a:gd name="connsiteY248" fmla="*/ 116665 h 344988"/>
                <a:gd name="connsiteX249" fmla="*/ 79785 w 344587"/>
                <a:gd name="connsiteY249" fmla="*/ 114963 h 344988"/>
                <a:gd name="connsiteX250" fmla="*/ 172293 w 344587"/>
                <a:gd name="connsiteY250" fmla="*/ 107507 h 344988"/>
                <a:gd name="connsiteX251" fmla="*/ 164742 w 344587"/>
                <a:gd name="connsiteY251" fmla="*/ 112163 h 344988"/>
                <a:gd name="connsiteX252" fmla="*/ 148477 w 344587"/>
                <a:gd name="connsiteY252" fmla="*/ 145335 h 344988"/>
                <a:gd name="connsiteX253" fmla="*/ 111881 w 344587"/>
                <a:gd name="connsiteY253" fmla="*/ 150766 h 344988"/>
                <a:gd name="connsiteX254" fmla="*/ 104910 w 344587"/>
                <a:gd name="connsiteY254" fmla="*/ 156392 h 344988"/>
                <a:gd name="connsiteX255" fmla="*/ 107234 w 344587"/>
                <a:gd name="connsiteY255" fmla="*/ 165121 h 344988"/>
                <a:gd name="connsiteX256" fmla="*/ 133567 w 344587"/>
                <a:gd name="connsiteY256" fmla="*/ 190922 h 344988"/>
                <a:gd name="connsiteX257" fmla="*/ 127371 w 344587"/>
                <a:gd name="connsiteY257" fmla="*/ 227392 h 344988"/>
                <a:gd name="connsiteX258" fmla="*/ 130663 w 344587"/>
                <a:gd name="connsiteY258" fmla="*/ 235733 h 344988"/>
                <a:gd name="connsiteX259" fmla="*/ 135697 w 344587"/>
                <a:gd name="connsiteY259" fmla="*/ 237479 h 344988"/>
                <a:gd name="connsiteX260" fmla="*/ 139570 w 344587"/>
                <a:gd name="connsiteY260" fmla="*/ 236509 h 344988"/>
                <a:gd name="connsiteX261" fmla="*/ 172293 w 344587"/>
                <a:gd name="connsiteY261" fmla="*/ 219244 h 344988"/>
                <a:gd name="connsiteX262" fmla="*/ 205016 w 344587"/>
                <a:gd name="connsiteY262" fmla="*/ 236509 h 344988"/>
                <a:gd name="connsiteX263" fmla="*/ 209083 w 344587"/>
                <a:gd name="connsiteY263" fmla="*/ 237479 h 344988"/>
                <a:gd name="connsiteX264" fmla="*/ 213923 w 344587"/>
                <a:gd name="connsiteY264" fmla="*/ 235733 h 344988"/>
                <a:gd name="connsiteX265" fmla="*/ 217409 w 344587"/>
                <a:gd name="connsiteY265" fmla="*/ 227392 h 344988"/>
                <a:gd name="connsiteX266" fmla="*/ 211213 w 344587"/>
                <a:gd name="connsiteY266" fmla="*/ 190922 h 344988"/>
                <a:gd name="connsiteX267" fmla="*/ 237546 w 344587"/>
                <a:gd name="connsiteY267" fmla="*/ 165121 h 344988"/>
                <a:gd name="connsiteX268" fmla="*/ 239676 w 344587"/>
                <a:gd name="connsiteY268" fmla="*/ 156392 h 344988"/>
                <a:gd name="connsiteX269" fmla="*/ 232899 w 344587"/>
                <a:gd name="connsiteY269" fmla="*/ 150766 h 344988"/>
                <a:gd name="connsiteX270" fmla="*/ 196303 w 344587"/>
                <a:gd name="connsiteY270" fmla="*/ 145335 h 344988"/>
                <a:gd name="connsiteX271" fmla="*/ 180038 w 344587"/>
                <a:gd name="connsiteY271" fmla="*/ 112163 h 344988"/>
                <a:gd name="connsiteX272" fmla="*/ 172293 w 344587"/>
                <a:gd name="connsiteY272" fmla="*/ 107507 h 344988"/>
                <a:gd name="connsiteX273" fmla="*/ 253771 w 344587"/>
                <a:gd name="connsiteY273" fmla="*/ 94962 h 344988"/>
                <a:gd name="connsiteX274" fmla="*/ 253394 w 344587"/>
                <a:gd name="connsiteY274" fmla="*/ 99795 h 344988"/>
                <a:gd name="connsiteX275" fmla="*/ 249225 w 344587"/>
                <a:gd name="connsiteY275" fmla="*/ 102225 h 344988"/>
                <a:gd name="connsiteX276" fmla="*/ 253690 w 344587"/>
                <a:gd name="connsiteY276" fmla="*/ 104061 h 344988"/>
                <a:gd name="connsiteX277" fmla="*/ 254712 w 344587"/>
                <a:gd name="connsiteY277" fmla="*/ 108785 h 344988"/>
                <a:gd name="connsiteX278" fmla="*/ 257833 w 344587"/>
                <a:gd name="connsiteY278" fmla="*/ 105114 h 344988"/>
                <a:gd name="connsiteX279" fmla="*/ 262648 w 344587"/>
                <a:gd name="connsiteY279" fmla="*/ 105573 h 344988"/>
                <a:gd name="connsiteX280" fmla="*/ 260119 w 344587"/>
                <a:gd name="connsiteY280" fmla="*/ 101469 h 344988"/>
                <a:gd name="connsiteX281" fmla="*/ 262056 w 344587"/>
                <a:gd name="connsiteY281" fmla="*/ 97041 h 344988"/>
                <a:gd name="connsiteX282" fmla="*/ 257348 w 344587"/>
                <a:gd name="connsiteY282" fmla="*/ 98175 h 344988"/>
                <a:gd name="connsiteX283" fmla="*/ 90749 w 344587"/>
                <a:gd name="connsiteY283" fmla="*/ 94962 h 344988"/>
                <a:gd name="connsiteX284" fmla="*/ 87118 w 344587"/>
                <a:gd name="connsiteY284" fmla="*/ 98175 h 344988"/>
                <a:gd name="connsiteX285" fmla="*/ 82340 w 344587"/>
                <a:gd name="connsiteY285" fmla="*/ 97041 h 344988"/>
                <a:gd name="connsiteX286" fmla="*/ 84333 w 344587"/>
                <a:gd name="connsiteY286" fmla="*/ 101469 h 344988"/>
                <a:gd name="connsiteX287" fmla="*/ 81739 w 344587"/>
                <a:gd name="connsiteY287" fmla="*/ 105573 h 344988"/>
                <a:gd name="connsiteX288" fmla="*/ 86626 w 344587"/>
                <a:gd name="connsiteY288" fmla="*/ 105114 h 344988"/>
                <a:gd name="connsiteX289" fmla="*/ 89793 w 344587"/>
                <a:gd name="connsiteY289" fmla="*/ 108785 h 344988"/>
                <a:gd name="connsiteX290" fmla="*/ 90831 w 344587"/>
                <a:gd name="connsiteY290" fmla="*/ 104061 h 344988"/>
                <a:gd name="connsiteX291" fmla="*/ 95363 w 344587"/>
                <a:gd name="connsiteY291" fmla="*/ 102225 h 344988"/>
                <a:gd name="connsiteX292" fmla="*/ 91131 w 344587"/>
                <a:gd name="connsiteY292" fmla="*/ 99795 h 344988"/>
                <a:gd name="connsiteX293" fmla="*/ 239015 w 344587"/>
                <a:gd name="connsiteY293" fmla="*/ 81940 h 344988"/>
                <a:gd name="connsiteX294" fmla="*/ 239501 w 344587"/>
                <a:gd name="connsiteY294" fmla="*/ 86827 h 344988"/>
                <a:gd name="connsiteX295" fmla="*/ 235802 w 344587"/>
                <a:gd name="connsiteY295" fmla="*/ 89993 h 344988"/>
                <a:gd name="connsiteX296" fmla="*/ 240527 w 344587"/>
                <a:gd name="connsiteY296" fmla="*/ 91031 h 344988"/>
                <a:gd name="connsiteX297" fmla="*/ 242363 w 344587"/>
                <a:gd name="connsiteY297" fmla="*/ 95563 h 344988"/>
                <a:gd name="connsiteX298" fmla="*/ 244792 w 344587"/>
                <a:gd name="connsiteY298" fmla="*/ 91331 h 344988"/>
                <a:gd name="connsiteX299" fmla="*/ 249625 w 344587"/>
                <a:gd name="connsiteY299" fmla="*/ 90976 h 344988"/>
                <a:gd name="connsiteX300" fmla="*/ 246413 w 344587"/>
                <a:gd name="connsiteY300" fmla="*/ 87318 h 344988"/>
                <a:gd name="connsiteX301" fmla="*/ 247546 w 344587"/>
                <a:gd name="connsiteY301" fmla="*/ 82568 h 344988"/>
                <a:gd name="connsiteX302" fmla="*/ 243119 w 344587"/>
                <a:gd name="connsiteY302" fmla="*/ 84533 h 344988"/>
                <a:gd name="connsiteX303" fmla="*/ 105372 w 344587"/>
                <a:gd name="connsiteY303" fmla="*/ 81940 h 344988"/>
                <a:gd name="connsiteX304" fmla="*/ 101268 w 344587"/>
                <a:gd name="connsiteY304" fmla="*/ 84533 h 344988"/>
                <a:gd name="connsiteX305" fmla="*/ 96841 w 344587"/>
                <a:gd name="connsiteY305" fmla="*/ 82568 h 344988"/>
                <a:gd name="connsiteX306" fmla="*/ 97975 w 344587"/>
                <a:gd name="connsiteY306" fmla="*/ 87318 h 344988"/>
                <a:gd name="connsiteX307" fmla="*/ 94762 w 344587"/>
                <a:gd name="connsiteY307" fmla="*/ 90976 h 344988"/>
                <a:gd name="connsiteX308" fmla="*/ 99594 w 344587"/>
                <a:gd name="connsiteY308" fmla="*/ 91331 h 344988"/>
                <a:gd name="connsiteX309" fmla="*/ 102024 w 344587"/>
                <a:gd name="connsiteY309" fmla="*/ 95563 h 344988"/>
                <a:gd name="connsiteX310" fmla="*/ 103860 w 344587"/>
                <a:gd name="connsiteY310" fmla="*/ 91031 h 344988"/>
                <a:gd name="connsiteX311" fmla="*/ 108585 w 344587"/>
                <a:gd name="connsiteY311" fmla="*/ 89993 h 344988"/>
                <a:gd name="connsiteX312" fmla="*/ 104886 w 344587"/>
                <a:gd name="connsiteY312" fmla="*/ 86827 h 344988"/>
                <a:gd name="connsiteX313" fmla="*/ 230910 w 344587"/>
                <a:gd name="connsiteY313" fmla="*/ 70720 h 344988"/>
                <a:gd name="connsiteX314" fmla="*/ 226879 w 344587"/>
                <a:gd name="connsiteY314" fmla="*/ 73474 h 344988"/>
                <a:gd name="connsiteX315" fmla="*/ 222361 w 344587"/>
                <a:gd name="connsiteY315" fmla="*/ 71629 h 344988"/>
                <a:gd name="connsiteX316" fmla="*/ 223687 w 344587"/>
                <a:gd name="connsiteY316" fmla="*/ 76393 h 344988"/>
                <a:gd name="connsiteX317" fmla="*/ 220576 w 344587"/>
                <a:gd name="connsiteY317" fmla="*/ 80193 h 344988"/>
                <a:gd name="connsiteX318" fmla="*/ 225418 w 344587"/>
                <a:gd name="connsiteY318" fmla="*/ 80386 h 344988"/>
                <a:gd name="connsiteX319" fmla="*/ 228015 w 344587"/>
                <a:gd name="connsiteY319" fmla="*/ 84544 h 344988"/>
                <a:gd name="connsiteX320" fmla="*/ 229692 w 344587"/>
                <a:gd name="connsiteY320" fmla="*/ 79918 h 344988"/>
                <a:gd name="connsiteX321" fmla="*/ 234399 w 344587"/>
                <a:gd name="connsiteY321" fmla="*/ 78706 h 344988"/>
                <a:gd name="connsiteX322" fmla="*/ 230585 w 344587"/>
                <a:gd name="connsiteY322" fmla="*/ 75650 h 344988"/>
                <a:gd name="connsiteX323" fmla="*/ 113678 w 344587"/>
                <a:gd name="connsiteY323" fmla="*/ 70720 h 344988"/>
                <a:gd name="connsiteX324" fmla="*/ 114002 w 344587"/>
                <a:gd name="connsiteY324" fmla="*/ 75650 h 344988"/>
                <a:gd name="connsiteX325" fmla="*/ 110188 w 344587"/>
                <a:gd name="connsiteY325" fmla="*/ 78706 h 344988"/>
                <a:gd name="connsiteX326" fmla="*/ 114895 w 344587"/>
                <a:gd name="connsiteY326" fmla="*/ 79918 h 344988"/>
                <a:gd name="connsiteX327" fmla="*/ 116572 w 344587"/>
                <a:gd name="connsiteY327" fmla="*/ 84544 h 344988"/>
                <a:gd name="connsiteX328" fmla="*/ 119169 w 344587"/>
                <a:gd name="connsiteY328" fmla="*/ 80386 h 344988"/>
                <a:gd name="connsiteX329" fmla="*/ 124011 w 344587"/>
                <a:gd name="connsiteY329" fmla="*/ 80193 h 344988"/>
                <a:gd name="connsiteX330" fmla="*/ 120900 w 344587"/>
                <a:gd name="connsiteY330" fmla="*/ 76393 h 344988"/>
                <a:gd name="connsiteX331" fmla="*/ 122226 w 344587"/>
                <a:gd name="connsiteY331" fmla="*/ 71629 h 344988"/>
                <a:gd name="connsiteX332" fmla="*/ 117708 w 344587"/>
                <a:gd name="connsiteY332" fmla="*/ 73474 h 344988"/>
                <a:gd name="connsiteX333" fmla="*/ 212334 w 344587"/>
                <a:gd name="connsiteY333" fmla="*/ 62106 h 344988"/>
                <a:gd name="connsiteX334" fmla="*/ 208828 w 344587"/>
                <a:gd name="connsiteY334" fmla="*/ 65489 h 344988"/>
                <a:gd name="connsiteX335" fmla="*/ 204046 w 344587"/>
                <a:gd name="connsiteY335" fmla="*/ 64507 h 344988"/>
                <a:gd name="connsiteX336" fmla="*/ 206165 w 344587"/>
                <a:gd name="connsiteY336" fmla="*/ 68900 h 344988"/>
                <a:gd name="connsiteX337" fmla="*/ 203747 w 344587"/>
                <a:gd name="connsiteY337" fmla="*/ 73156 h 344988"/>
                <a:gd name="connsiteX338" fmla="*/ 208584 w 344587"/>
                <a:gd name="connsiteY338" fmla="*/ 72501 h 344988"/>
                <a:gd name="connsiteX339" fmla="*/ 211844 w 344587"/>
                <a:gd name="connsiteY339" fmla="*/ 76130 h 344988"/>
                <a:gd name="connsiteX340" fmla="*/ 212714 w 344587"/>
                <a:gd name="connsiteY340" fmla="*/ 71301 h 344988"/>
                <a:gd name="connsiteX341" fmla="*/ 217170 w 344587"/>
                <a:gd name="connsiteY341" fmla="*/ 69282 h 344988"/>
                <a:gd name="connsiteX342" fmla="*/ 212877 w 344587"/>
                <a:gd name="connsiteY342" fmla="*/ 66962 h 344988"/>
                <a:gd name="connsiteX343" fmla="*/ 132182 w 344587"/>
                <a:gd name="connsiteY343" fmla="*/ 62106 h 344988"/>
                <a:gd name="connsiteX344" fmla="*/ 131646 w 344587"/>
                <a:gd name="connsiteY344" fmla="*/ 66962 h 344988"/>
                <a:gd name="connsiteX345" fmla="*/ 127417 w 344587"/>
                <a:gd name="connsiteY345" fmla="*/ 69282 h 344988"/>
                <a:gd name="connsiteX346" fmla="*/ 131807 w 344587"/>
                <a:gd name="connsiteY346" fmla="*/ 71301 h 344988"/>
                <a:gd name="connsiteX347" fmla="*/ 132663 w 344587"/>
                <a:gd name="connsiteY347" fmla="*/ 76130 h 344988"/>
                <a:gd name="connsiteX348" fmla="*/ 135875 w 344587"/>
                <a:gd name="connsiteY348" fmla="*/ 72501 h 344988"/>
                <a:gd name="connsiteX349" fmla="*/ 140640 w 344587"/>
                <a:gd name="connsiteY349" fmla="*/ 73156 h 344988"/>
                <a:gd name="connsiteX350" fmla="*/ 138258 w 344587"/>
                <a:gd name="connsiteY350" fmla="*/ 68900 h 344988"/>
                <a:gd name="connsiteX351" fmla="*/ 140345 w 344587"/>
                <a:gd name="connsiteY351" fmla="*/ 64507 h 344988"/>
                <a:gd name="connsiteX352" fmla="*/ 135635 w 344587"/>
                <a:gd name="connsiteY352" fmla="*/ 65489 h 344988"/>
                <a:gd name="connsiteX353" fmla="*/ 192615 w 344587"/>
                <a:gd name="connsiteY353" fmla="*/ 56897 h 344988"/>
                <a:gd name="connsiteX354" fmla="*/ 189761 w 344587"/>
                <a:gd name="connsiteY354" fmla="*/ 60835 h 344988"/>
                <a:gd name="connsiteX355" fmla="*/ 184915 w 344587"/>
                <a:gd name="connsiteY355" fmla="*/ 60672 h 344988"/>
                <a:gd name="connsiteX356" fmla="*/ 187742 w 344587"/>
                <a:gd name="connsiteY356" fmla="*/ 64637 h 344988"/>
                <a:gd name="connsiteX357" fmla="*/ 186127 w 344587"/>
                <a:gd name="connsiteY357" fmla="*/ 69227 h 344988"/>
                <a:gd name="connsiteX358" fmla="*/ 190704 w 344587"/>
                <a:gd name="connsiteY358" fmla="*/ 67733 h 344988"/>
                <a:gd name="connsiteX359" fmla="*/ 194527 w 344587"/>
                <a:gd name="connsiteY359" fmla="*/ 70720 h 344988"/>
                <a:gd name="connsiteX360" fmla="*/ 194554 w 344587"/>
                <a:gd name="connsiteY360" fmla="*/ 65832 h 344988"/>
                <a:gd name="connsiteX361" fmla="*/ 198538 w 344587"/>
                <a:gd name="connsiteY361" fmla="*/ 63089 h 344988"/>
                <a:gd name="connsiteX362" fmla="*/ 193961 w 344587"/>
                <a:gd name="connsiteY362" fmla="*/ 61568 h 344988"/>
                <a:gd name="connsiteX363" fmla="*/ 151859 w 344587"/>
                <a:gd name="connsiteY363" fmla="*/ 56897 h 344988"/>
                <a:gd name="connsiteX364" fmla="*/ 150493 w 344587"/>
                <a:gd name="connsiteY364" fmla="*/ 61568 h 344988"/>
                <a:gd name="connsiteX365" fmla="*/ 145849 w 344587"/>
                <a:gd name="connsiteY365" fmla="*/ 63089 h 344988"/>
                <a:gd name="connsiteX366" fmla="*/ 149892 w 344587"/>
                <a:gd name="connsiteY366" fmla="*/ 65832 h 344988"/>
                <a:gd name="connsiteX367" fmla="*/ 149919 w 344587"/>
                <a:gd name="connsiteY367" fmla="*/ 70720 h 344988"/>
                <a:gd name="connsiteX368" fmla="*/ 153798 w 344587"/>
                <a:gd name="connsiteY368" fmla="*/ 67733 h 344988"/>
                <a:gd name="connsiteX369" fmla="*/ 158443 w 344587"/>
                <a:gd name="connsiteY369" fmla="*/ 69227 h 344988"/>
                <a:gd name="connsiteX370" fmla="*/ 156804 w 344587"/>
                <a:gd name="connsiteY370" fmla="*/ 64637 h 344988"/>
                <a:gd name="connsiteX371" fmla="*/ 159672 w 344587"/>
                <a:gd name="connsiteY371" fmla="*/ 60672 h 344988"/>
                <a:gd name="connsiteX372" fmla="*/ 154755 w 344587"/>
                <a:gd name="connsiteY372" fmla="*/ 60835 h 344988"/>
                <a:gd name="connsiteX373" fmla="*/ 172307 w 344587"/>
                <a:gd name="connsiteY373" fmla="*/ 55094 h 344988"/>
                <a:gd name="connsiteX374" fmla="*/ 170121 w 344587"/>
                <a:gd name="connsiteY374" fmla="*/ 59447 h 344988"/>
                <a:gd name="connsiteX375" fmla="*/ 165282 w 344587"/>
                <a:gd name="connsiteY375" fmla="*/ 60150 h 344988"/>
                <a:gd name="connsiteX376" fmla="*/ 168781 w 344587"/>
                <a:gd name="connsiteY376" fmla="*/ 63530 h 344988"/>
                <a:gd name="connsiteX377" fmla="*/ 167961 w 344587"/>
                <a:gd name="connsiteY377" fmla="*/ 68316 h 344988"/>
                <a:gd name="connsiteX378" fmla="*/ 172307 w 344587"/>
                <a:gd name="connsiteY378" fmla="*/ 66045 h 344988"/>
                <a:gd name="connsiteX379" fmla="*/ 176627 w 344587"/>
                <a:gd name="connsiteY379" fmla="*/ 68316 h 344988"/>
                <a:gd name="connsiteX380" fmla="*/ 175806 w 344587"/>
                <a:gd name="connsiteY380" fmla="*/ 63530 h 344988"/>
                <a:gd name="connsiteX381" fmla="*/ 179306 w 344587"/>
                <a:gd name="connsiteY381" fmla="*/ 60150 h 344988"/>
                <a:gd name="connsiteX382" fmla="*/ 174467 w 344587"/>
                <a:gd name="connsiteY382" fmla="*/ 59447 h 344988"/>
                <a:gd name="connsiteX383" fmla="*/ 171615 w 344587"/>
                <a:gd name="connsiteY383" fmla="*/ 48293 h 344988"/>
                <a:gd name="connsiteX384" fmla="*/ 293719 w 344587"/>
                <a:gd name="connsiteY384" fmla="*/ 170398 h 344988"/>
                <a:gd name="connsiteX385" fmla="*/ 171615 w 344587"/>
                <a:gd name="connsiteY385" fmla="*/ 292503 h 344988"/>
                <a:gd name="connsiteX386" fmla="*/ 49510 w 344587"/>
                <a:gd name="connsiteY386" fmla="*/ 170398 h 344988"/>
                <a:gd name="connsiteX387" fmla="*/ 171615 w 344587"/>
                <a:gd name="connsiteY387" fmla="*/ 48293 h 344988"/>
                <a:gd name="connsiteX388" fmla="*/ 171615 w 344587"/>
                <a:gd name="connsiteY388" fmla="*/ 34348 h 344988"/>
                <a:gd name="connsiteX389" fmla="*/ 35565 w 344587"/>
                <a:gd name="connsiteY389" fmla="*/ 170398 h 344988"/>
                <a:gd name="connsiteX390" fmla="*/ 171615 w 344587"/>
                <a:gd name="connsiteY390" fmla="*/ 306448 h 344988"/>
                <a:gd name="connsiteX391" fmla="*/ 307665 w 344587"/>
                <a:gd name="connsiteY391" fmla="*/ 170398 h 344988"/>
                <a:gd name="connsiteX392" fmla="*/ 171615 w 344587"/>
                <a:gd name="connsiteY392" fmla="*/ 34348 h 344988"/>
                <a:gd name="connsiteX393" fmla="*/ 172307 w 344587"/>
                <a:gd name="connsiteY393" fmla="*/ 0 h 344988"/>
                <a:gd name="connsiteX394" fmla="*/ 212700 w 344587"/>
                <a:gd name="connsiteY394" fmla="*/ 21468 h 344988"/>
                <a:gd name="connsiteX395" fmla="*/ 258434 w 344587"/>
                <a:gd name="connsiteY395" fmla="*/ 23124 h 344988"/>
                <a:gd name="connsiteX396" fmla="*/ 282724 w 344587"/>
                <a:gd name="connsiteY396" fmla="*/ 61936 h 344988"/>
                <a:gd name="connsiteX397" fmla="*/ 321490 w 344587"/>
                <a:gd name="connsiteY397" fmla="*/ 86254 h 344988"/>
                <a:gd name="connsiteX398" fmla="*/ 323144 w 344587"/>
                <a:gd name="connsiteY398" fmla="*/ 132040 h 344988"/>
                <a:gd name="connsiteX399" fmla="*/ 344587 w 344587"/>
                <a:gd name="connsiteY399" fmla="*/ 172508 h 344988"/>
                <a:gd name="connsiteX400" fmla="*/ 323144 w 344587"/>
                <a:gd name="connsiteY400" fmla="*/ 212975 h 344988"/>
                <a:gd name="connsiteX401" fmla="*/ 321490 w 344587"/>
                <a:gd name="connsiteY401" fmla="*/ 258734 h 344988"/>
                <a:gd name="connsiteX402" fmla="*/ 282724 w 344587"/>
                <a:gd name="connsiteY402" fmla="*/ 283052 h 344988"/>
                <a:gd name="connsiteX403" fmla="*/ 258434 w 344587"/>
                <a:gd name="connsiteY403" fmla="*/ 321891 h 344988"/>
                <a:gd name="connsiteX404" fmla="*/ 212700 w 344587"/>
                <a:gd name="connsiteY404" fmla="*/ 323520 h 344988"/>
                <a:gd name="connsiteX405" fmla="*/ 172307 w 344587"/>
                <a:gd name="connsiteY405" fmla="*/ 344988 h 344988"/>
                <a:gd name="connsiteX406" fmla="*/ 131887 w 344587"/>
                <a:gd name="connsiteY406" fmla="*/ 323520 h 344988"/>
                <a:gd name="connsiteX407" fmla="*/ 86154 w 344587"/>
                <a:gd name="connsiteY407" fmla="*/ 321891 h 344988"/>
                <a:gd name="connsiteX408" fmla="*/ 61864 w 344587"/>
                <a:gd name="connsiteY408" fmla="*/ 283052 h 344988"/>
                <a:gd name="connsiteX409" fmla="*/ 23097 w 344587"/>
                <a:gd name="connsiteY409" fmla="*/ 258734 h 344988"/>
                <a:gd name="connsiteX410" fmla="*/ 21444 w 344587"/>
                <a:gd name="connsiteY410" fmla="*/ 212975 h 344988"/>
                <a:gd name="connsiteX411" fmla="*/ 0 w 344587"/>
                <a:gd name="connsiteY411" fmla="*/ 172508 h 344988"/>
                <a:gd name="connsiteX412" fmla="*/ 21444 w 344587"/>
                <a:gd name="connsiteY412" fmla="*/ 132040 h 344988"/>
                <a:gd name="connsiteX413" fmla="*/ 23097 w 344587"/>
                <a:gd name="connsiteY413" fmla="*/ 86254 h 344988"/>
                <a:gd name="connsiteX414" fmla="*/ 61864 w 344587"/>
                <a:gd name="connsiteY414" fmla="*/ 61936 h 344988"/>
                <a:gd name="connsiteX415" fmla="*/ 86154 w 344587"/>
                <a:gd name="connsiteY415" fmla="*/ 23124 h 344988"/>
                <a:gd name="connsiteX416" fmla="*/ 131887 w 344587"/>
                <a:gd name="connsiteY416" fmla="*/ 21468 h 344988"/>
                <a:gd name="connsiteX417" fmla="*/ 172307 w 344587"/>
                <a:gd name="connsiteY417" fmla="*/ 0 h 34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Lst>
              <a:rect l="l" t="t" r="r" b="b"/>
              <a:pathLst>
                <a:path w="344587" h="344988">
                  <a:moveTo>
                    <a:pt x="167961" y="276672"/>
                  </a:moveTo>
                  <a:lnTo>
                    <a:pt x="168781" y="281441"/>
                  </a:lnTo>
                  <a:lnTo>
                    <a:pt x="165282" y="284827"/>
                  </a:lnTo>
                  <a:lnTo>
                    <a:pt x="170121" y="285532"/>
                  </a:lnTo>
                  <a:lnTo>
                    <a:pt x="172307" y="289894"/>
                  </a:lnTo>
                  <a:lnTo>
                    <a:pt x="174467" y="285532"/>
                  </a:lnTo>
                  <a:lnTo>
                    <a:pt x="179306" y="284827"/>
                  </a:lnTo>
                  <a:lnTo>
                    <a:pt x="175806" y="281441"/>
                  </a:lnTo>
                  <a:lnTo>
                    <a:pt x="176627" y="276672"/>
                  </a:lnTo>
                  <a:lnTo>
                    <a:pt x="172307" y="278921"/>
                  </a:lnTo>
                  <a:close/>
                  <a:moveTo>
                    <a:pt x="194527" y="274468"/>
                  </a:moveTo>
                  <a:lnTo>
                    <a:pt x="190704" y="277391"/>
                  </a:lnTo>
                  <a:lnTo>
                    <a:pt x="186127" y="275943"/>
                  </a:lnTo>
                  <a:lnTo>
                    <a:pt x="187742" y="280475"/>
                  </a:lnTo>
                  <a:lnTo>
                    <a:pt x="184915" y="284363"/>
                  </a:lnTo>
                  <a:lnTo>
                    <a:pt x="189761" y="284229"/>
                  </a:lnTo>
                  <a:lnTo>
                    <a:pt x="192615" y="288091"/>
                  </a:lnTo>
                  <a:lnTo>
                    <a:pt x="193961" y="283479"/>
                  </a:lnTo>
                  <a:lnTo>
                    <a:pt x="198538" y="281977"/>
                  </a:lnTo>
                  <a:lnTo>
                    <a:pt x="194554" y="279268"/>
                  </a:lnTo>
                  <a:close/>
                  <a:moveTo>
                    <a:pt x="149919" y="274468"/>
                  </a:moveTo>
                  <a:lnTo>
                    <a:pt x="149892" y="279268"/>
                  </a:lnTo>
                  <a:lnTo>
                    <a:pt x="145849" y="281977"/>
                  </a:lnTo>
                  <a:lnTo>
                    <a:pt x="150493" y="283479"/>
                  </a:lnTo>
                  <a:lnTo>
                    <a:pt x="151859" y="288091"/>
                  </a:lnTo>
                  <a:lnTo>
                    <a:pt x="154755" y="284229"/>
                  </a:lnTo>
                  <a:lnTo>
                    <a:pt x="159672" y="284363"/>
                  </a:lnTo>
                  <a:lnTo>
                    <a:pt x="156804" y="280475"/>
                  </a:lnTo>
                  <a:lnTo>
                    <a:pt x="158443" y="275943"/>
                  </a:lnTo>
                  <a:lnTo>
                    <a:pt x="153798" y="277391"/>
                  </a:lnTo>
                  <a:close/>
                  <a:moveTo>
                    <a:pt x="211844" y="268858"/>
                  </a:moveTo>
                  <a:lnTo>
                    <a:pt x="208584" y="272467"/>
                  </a:lnTo>
                  <a:lnTo>
                    <a:pt x="203747" y="271811"/>
                  </a:lnTo>
                  <a:lnTo>
                    <a:pt x="206165" y="276075"/>
                  </a:lnTo>
                  <a:lnTo>
                    <a:pt x="204046" y="280504"/>
                  </a:lnTo>
                  <a:lnTo>
                    <a:pt x="208828" y="279492"/>
                  </a:lnTo>
                  <a:lnTo>
                    <a:pt x="212334" y="282882"/>
                  </a:lnTo>
                  <a:lnTo>
                    <a:pt x="212877" y="278016"/>
                  </a:lnTo>
                  <a:lnTo>
                    <a:pt x="217170" y="275693"/>
                  </a:lnTo>
                  <a:lnTo>
                    <a:pt x="212714" y="273670"/>
                  </a:lnTo>
                  <a:close/>
                  <a:moveTo>
                    <a:pt x="132663" y="268858"/>
                  </a:moveTo>
                  <a:lnTo>
                    <a:pt x="131807" y="273670"/>
                  </a:lnTo>
                  <a:lnTo>
                    <a:pt x="127417" y="275693"/>
                  </a:lnTo>
                  <a:lnTo>
                    <a:pt x="131646" y="278016"/>
                  </a:lnTo>
                  <a:lnTo>
                    <a:pt x="132182" y="282882"/>
                  </a:lnTo>
                  <a:lnTo>
                    <a:pt x="135635" y="279492"/>
                  </a:lnTo>
                  <a:lnTo>
                    <a:pt x="140345" y="280504"/>
                  </a:lnTo>
                  <a:lnTo>
                    <a:pt x="138258" y="276075"/>
                  </a:lnTo>
                  <a:lnTo>
                    <a:pt x="140640" y="271811"/>
                  </a:lnTo>
                  <a:lnTo>
                    <a:pt x="135875" y="272467"/>
                  </a:lnTo>
                  <a:close/>
                  <a:moveTo>
                    <a:pt x="228015" y="260644"/>
                  </a:moveTo>
                  <a:lnTo>
                    <a:pt x="225418" y="264769"/>
                  </a:lnTo>
                  <a:lnTo>
                    <a:pt x="220576" y="264959"/>
                  </a:lnTo>
                  <a:lnTo>
                    <a:pt x="223687" y="268704"/>
                  </a:lnTo>
                  <a:lnTo>
                    <a:pt x="222361" y="273372"/>
                  </a:lnTo>
                  <a:lnTo>
                    <a:pt x="226879" y="271581"/>
                  </a:lnTo>
                  <a:lnTo>
                    <a:pt x="230910" y="274268"/>
                  </a:lnTo>
                  <a:lnTo>
                    <a:pt x="230585" y="269410"/>
                  </a:lnTo>
                  <a:lnTo>
                    <a:pt x="234399" y="266398"/>
                  </a:lnTo>
                  <a:lnTo>
                    <a:pt x="229692" y="265204"/>
                  </a:lnTo>
                  <a:close/>
                  <a:moveTo>
                    <a:pt x="116572" y="260644"/>
                  </a:moveTo>
                  <a:lnTo>
                    <a:pt x="114895" y="265204"/>
                  </a:lnTo>
                  <a:lnTo>
                    <a:pt x="110188" y="266398"/>
                  </a:lnTo>
                  <a:lnTo>
                    <a:pt x="114002" y="269410"/>
                  </a:lnTo>
                  <a:lnTo>
                    <a:pt x="113678" y="274268"/>
                  </a:lnTo>
                  <a:lnTo>
                    <a:pt x="117708" y="271581"/>
                  </a:lnTo>
                  <a:lnTo>
                    <a:pt x="122226" y="273372"/>
                  </a:lnTo>
                  <a:lnTo>
                    <a:pt x="120900" y="268704"/>
                  </a:lnTo>
                  <a:lnTo>
                    <a:pt x="124011" y="264959"/>
                  </a:lnTo>
                  <a:lnTo>
                    <a:pt x="119169" y="264769"/>
                  </a:lnTo>
                  <a:close/>
                  <a:moveTo>
                    <a:pt x="242363" y="249625"/>
                  </a:moveTo>
                  <a:lnTo>
                    <a:pt x="240527" y="254100"/>
                  </a:lnTo>
                  <a:lnTo>
                    <a:pt x="235802" y="255124"/>
                  </a:lnTo>
                  <a:lnTo>
                    <a:pt x="239501" y="258251"/>
                  </a:lnTo>
                  <a:lnTo>
                    <a:pt x="239015" y="263048"/>
                  </a:lnTo>
                  <a:lnTo>
                    <a:pt x="243119" y="260515"/>
                  </a:lnTo>
                  <a:lnTo>
                    <a:pt x="247546" y="262455"/>
                  </a:lnTo>
                  <a:lnTo>
                    <a:pt x="246413" y="257766"/>
                  </a:lnTo>
                  <a:lnTo>
                    <a:pt x="249625" y="254154"/>
                  </a:lnTo>
                  <a:lnTo>
                    <a:pt x="244792" y="253776"/>
                  </a:lnTo>
                  <a:close/>
                  <a:moveTo>
                    <a:pt x="102024" y="249625"/>
                  </a:moveTo>
                  <a:lnTo>
                    <a:pt x="99594" y="253776"/>
                  </a:lnTo>
                  <a:lnTo>
                    <a:pt x="94762" y="254154"/>
                  </a:lnTo>
                  <a:lnTo>
                    <a:pt x="97975" y="257766"/>
                  </a:lnTo>
                  <a:lnTo>
                    <a:pt x="96841" y="262455"/>
                  </a:lnTo>
                  <a:lnTo>
                    <a:pt x="101268" y="260515"/>
                  </a:lnTo>
                  <a:lnTo>
                    <a:pt x="105372" y="263048"/>
                  </a:lnTo>
                  <a:lnTo>
                    <a:pt x="104886" y="258251"/>
                  </a:lnTo>
                  <a:lnTo>
                    <a:pt x="108585" y="255124"/>
                  </a:lnTo>
                  <a:lnTo>
                    <a:pt x="103860" y="254100"/>
                  </a:lnTo>
                  <a:close/>
                  <a:moveTo>
                    <a:pt x="254712" y="236203"/>
                  </a:moveTo>
                  <a:lnTo>
                    <a:pt x="253690" y="240928"/>
                  </a:lnTo>
                  <a:lnTo>
                    <a:pt x="249225" y="242764"/>
                  </a:lnTo>
                  <a:lnTo>
                    <a:pt x="253394" y="245220"/>
                  </a:lnTo>
                  <a:lnTo>
                    <a:pt x="253771" y="250026"/>
                  </a:lnTo>
                  <a:lnTo>
                    <a:pt x="257348" y="246813"/>
                  </a:lnTo>
                  <a:lnTo>
                    <a:pt x="262056" y="247974"/>
                  </a:lnTo>
                  <a:lnTo>
                    <a:pt x="260119" y="243520"/>
                  </a:lnTo>
                  <a:lnTo>
                    <a:pt x="262648" y="239416"/>
                  </a:lnTo>
                  <a:lnTo>
                    <a:pt x="257833" y="239902"/>
                  </a:lnTo>
                  <a:close/>
                  <a:moveTo>
                    <a:pt x="89793" y="236203"/>
                  </a:moveTo>
                  <a:lnTo>
                    <a:pt x="86626" y="239902"/>
                  </a:lnTo>
                  <a:lnTo>
                    <a:pt x="81739" y="239416"/>
                  </a:lnTo>
                  <a:lnTo>
                    <a:pt x="84333" y="243520"/>
                  </a:lnTo>
                  <a:lnTo>
                    <a:pt x="82340" y="247974"/>
                  </a:lnTo>
                  <a:lnTo>
                    <a:pt x="87118" y="246813"/>
                  </a:lnTo>
                  <a:lnTo>
                    <a:pt x="90749" y="250026"/>
                  </a:lnTo>
                  <a:lnTo>
                    <a:pt x="91131" y="245220"/>
                  </a:lnTo>
                  <a:lnTo>
                    <a:pt x="95363" y="242764"/>
                  </a:lnTo>
                  <a:lnTo>
                    <a:pt x="90831" y="240928"/>
                  </a:lnTo>
                  <a:close/>
                  <a:moveTo>
                    <a:pt x="264558" y="220977"/>
                  </a:moveTo>
                  <a:lnTo>
                    <a:pt x="264341" y="225819"/>
                  </a:lnTo>
                  <a:lnTo>
                    <a:pt x="260243" y="228416"/>
                  </a:lnTo>
                  <a:lnTo>
                    <a:pt x="264803" y="230093"/>
                  </a:lnTo>
                  <a:lnTo>
                    <a:pt x="265997" y="234800"/>
                  </a:lnTo>
                  <a:lnTo>
                    <a:pt x="269009" y="230986"/>
                  </a:lnTo>
                  <a:lnTo>
                    <a:pt x="273867" y="231311"/>
                  </a:lnTo>
                  <a:lnTo>
                    <a:pt x="271180" y="227280"/>
                  </a:lnTo>
                  <a:lnTo>
                    <a:pt x="272971" y="222762"/>
                  </a:lnTo>
                  <a:lnTo>
                    <a:pt x="268276" y="224088"/>
                  </a:lnTo>
                  <a:close/>
                  <a:moveTo>
                    <a:pt x="80029" y="220977"/>
                  </a:moveTo>
                  <a:lnTo>
                    <a:pt x="76311" y="224088"/>
                  </a:lnTo>
                  <a:lnTo>
                    <a:pt x="71616" y="222762"/>
                  </a:lnTo>
                  <a:lnTo>
                    <a:pt x="73407" y="227280"/>
                  </a:lnTo>
                  <a:lnTo>
                    <a:pt x="70721" y="231311"/>
                  </a:lnTo>
                  <a:lnTo>
                    <a:pt x="75578" y="230986"/>
                  </a:lnTo>
                  <a:lnTo>
                    <a:pt x="78590" y="234800"/>
                  </a:lnTo>
                  <a:lnTo>
                    <a:pt x="79785" y="230093"/>
                  </a:lnTo>
                  <a:lnTo>
                    <a:pt x="84344" y="228416"/>
                  </a:lnTo>
                  <a:lnTo>
                    <a:pt x="80246" y="225819"/>
                  </a:lnTo>
                  <a:close/>
                  <a:moveTo>
                    <a:pt x="271410" y="204148"/>
                  </a:moveTo>
                  <a:lnTo>
                    <a:pt x="272066" y="208985"/>
                  </a:lnTo>
                  <a:lnTo>
                    <a:pt x="268457" y="212245"/>
                  </a:lnTo>
                  <a:lnTo>
                    <a:pt x="273269" y="213115"/>
                  </a:lnTo>
                  <a:lnTo>
                    <a:pt x="275292" y="217571"/>
                  </a:lnTo>
                  <a:lnTo>
                    <a:pt x="277615" y="213278"/>
                  </a:lnTo>
                  <a:lnTo>
                    <a:pt x="282481" y="212734"/>
                  </a:lnTo>
                  <a:lnTo>
                    <a:pt x="279091" y="209229"/>
                  </a:lnTo>
                  <a:lnTo>
                    <a:pt x="280076" y="204447"/>
                  </a:lnTo>
                  <a:lnTo>
                    <a:pt x="275674" y="206566"/>
                  </a:lnTo>
                  <a:close/>
                  <a:moveTo>
                    <a:pt x="73019" y="204148"/>
                  </a:moveTo>
                  <a:lnTo>
                    <a:pt x="68816" y="206566"/>
                  </a:lnTo>
                  <a:lnTo>
                    <a:pt x="64477" y="204447"/>
                  </a:lnTo>
                  <a:lnTo>
                    <a:pt x="65447" y="209229"/>
                  </a:lnTo>
                  <a:lnTo>
                    <a:pt x="62106" y="212734"/>
                  </a:lnTo>
                  <a:lnTo>
                    <a:pt x="66903" y="213278"/>
                  </a:lnTo>
                  <a:lnTo>
                    <a:pt x="69193" y="217571"/>
                  </a:lnTo>
                  <a:lnTo>
                    <a:pt x="71187" y="213115"/>
                  </a:lnTo>
                  <a:lnTo>
                    <a:pt x="75929" y="212245"/>
                  </a:lnTo>
                  <a:lnTo>
                    <a:pt x="72373" y="208985"/>
                  </a:lnTo>
                  <a:close/>
                  <a:moveTo>
                    <a:pt x="283915" y="185116"/>
                  </a:moveTo>
                  <a:lnTo>
                    <a:pt x="279950" y="187963"/>
                  </a:lnTo>
                  <a:lnTo>
                    <a:pt x="275388" y="186320"/>
                  </a:lnTo>
                  <a:lnTo>
                    <a:pt x="276854" y="191001"/>
                  </a:lnTo>
                  <a:lnTo>
                    <a:pt x="273867" y="194861"/>
                  </a:lnTo>
                  <a:lnTo>
                    <a:pt x="278755" y="194888"/>
                  </a:lnTo>
                  <a:lnTo>
                    <a:pt x="281498" y="198939"/>
                  </a:lnTo>
                  <a:lnTo>
                    <a:pt x="283019" y="194286"/>
                  </a:lnTo>
                  <a:lnTo>
                    <a:pt x="287690" y="192917"/>
                  </a:lnTo>
                  <a:lnTo>
                    <a:pt x="283780" y="190015"/>
                  </a:lnTo>
                  <a:close/>
                  <a:moveTo>
                    <a:pt x="60472" y="185116"/>
                  </a:moveTo>
                  <a:lnTo>
                    <a:pt x="60608" y="190015"/>
                  </a:lnTo>
                  <a:lnTo>
                    <a:pt x="56697" y="192917"/>
                  </a:lnTo>
                  <a:lnTo>
                    <a:pt x="61368" y="194286"/>
                  </a:lnTo>
                  <a:lnTo>
                    <a:pt x="62889" y="198939"/>
                  </a:lnTo>
                  <a:lnTo>
                    <a:pt x="65632" y="194888"/>
                  </a:lnTo>
                  <a:lnTo>
                    <a:pt x="70520" y="194861"/>
                  </a:lnTo>
                  <a:lnTo>
                    <a:pt x="67533" y="191001"/>
                  </a:lnTo>
                  <a:lnTo>
                    <a:pt x="68999" y="186320"/>
                  </a:lnTo>
                  <a:lnTo>
                    <a:pt x="64437" y="187963"/>
                  </a:lnTo>
                  <a:close/>
                  <a:moveTo>
                    <a:pt x="284437" y="165482"/>
                  </a:moveTo>
                  <a:lnTo>
                    <a:pt x="281057" y="168981"/>
                  </a:lnTo>
                  <a:lnTo>
                    <a:pt x="276271" y="168161"/>
                  </a:lnTo>
                  <a:lnTo>
                    <a:pt x="278542" y="172508"/>
                  </a:lnTo>
                  <a:lnTo>
                    <a:pt x="276271" y="176827"/>
                  </a:lnTo>
                  <a:lnTo>
                    <a:pt x="281057" y="176007"/>
                  </a:lnTo>
                  <a:lnTo>
                    <a:pt x="284437" y="179506"/>
                  </a:lnTo>
                  <a:lnTo>
                    <a:pt x="285140" y="174667"/>
                  </a:lnTo>
                  <a:lnTo>
                    <a:pt x="289493" y="172508"/>
                  </a:lnTo>
                  <a:lnTo>
                    <a:pt x="285140" y="170321"/>
                  </a:lnTo>
                  <a:close/>
                  <a:moveTo>
                    <a:pt x="60027" y="165482"/>
                  </a:moveTo>
                  <a:lnTo>
                    <a:pt x="59313" y="170321"/>
                  </a:lnTo>
                  <a:lnTo>
                    <a:pt x="54894" y="172508"/>
                  </a:lnTo>
                  <a:lnTo>
                    <a:pt x="59313" y="174667"/>
                  </a:lnTo>
                  <a:lnTo>
                    <a:pt x="60027" y="179506"/>
                  </a:lnTo>
                  <a:lnTo>
                    <a:pt x="63458" y="176007"/>
                  </a:lnTo>
                  <a:lnTo>
                    <a:pt x="68317" y="176827"/>
                  </a:lnTo>
                  <a:lnTo>
                    <a:pt x="66011" y="172508"/>
                  </a:lnTo>
                  <a:lnTo>
                    <a:pt x="68317" y="168161"/>
                  </a:lnTo>
                  <a:lnTo>
                    <a:pt x="63458" y="168981"/>
                  </a:lnTo>
                  <a:close/>
                  <a:moveTo>
                    <a:pt x="281498" y="146049"/>
                  </a:moveTo>
                  <a:lnTo>
                    <a:pt x="278755" y="150092"/>
                  </a:lnTo>
                  <a:lnTo>
                    <a:pt x="273867" y="150120"/>
                  </a:lnTo>
                  <a:lnTo>
                    <a:pt x="276854" y="153999"/>
                  </a:lnTo>
                  <a:lnTo>
                    <a:pt x="275388" y="158670"/>
                  </a:lnTo>
                  <a:lnTo>
                    <a:pt x="279950" y="157004"/>
                  </a:lnTo>
                  <a:lnTo>
                    <a:pt x="283915" y="159872"/>
                  </a:lnTo>
                  <a:lnTo>
                    <a:pt x="283780" y="154955"/>
                  </a:lnTo>
                  <a:lnTo>
                    <a:pt x="287690" y="152059"/>
                  </a:lnTo>
                  <a:lnTo>
                    <a:pt x="283019" y="150693"/>
                  </a:lnTo>
                  <a:close/>
                  <a:moveTo>
                    <a:pt x="62889" y="146049"/>
                  </a:moveTo>
                  <a:lnTo>
                    <a:pt x="61368" y="150693"/>
                  </a:lnTo>
                  <a:lnTo>
                    <a:pt x="56697" y="152059"/>
                  </a:lnTo>
                  <a:lnTo>
                    <a:pt x="60608" y="154955"/>
                  </a:lnTo>
                  <a:lnTo>
                    <a:pt x="60472" y="159872"/>
                  </a:lnTo>
                  <a:lnTo>
                    <a:pt x="64437" y="157004"/>
                  </a:lnTo>
                  <a:lnTo>
                    <a:pt x="68999" y="158670"/>
                  </a:lnTo>
                  <a:lnTo>
                    <a:pt x="67533" y="153999"/>
                  </a:lnTo>
                  <a:lnTo>
                    <a:pt x="70520" y="150120"/>
                  </a:lnTo>
                  <a:lnTo>
                    <a:pt x="65632" y="150092"/>
                  </a:lnTo>
                  <a:close/>
                  <a:moveTo>
                    <a:pt x="275292" y="127618"/>
                  </a:moveTo>
                  <a:lnTo>
                    <a:pt x="273269" y="132007"/>
                  </a:lnTo>
                  <a:lnTo>
                    <a:pt x="268457" y="132864"/>
                  </a:lnTo>
                  <a:lnTo>
                    <a:pt x="272066" y="136103"/>
                  </a:lnTo>
                  <a:lnTo>
                    <a:pt x="271410" y="140840"/>
                  </a:lnTo>
                  <a:lnTo>
                    <a:pt x="275674" y="138458"/>
                  </a:lnTo>
                  <a:lnTo>
                    <a:pt x="280076" y="140546"/>
                  </a:lnTo>
                  <a:lnTo>
                    <a:pt x="279091" y="135862"/>
                  </a:lnTo>
                  <a:lnTo>
                    <a:pt x="282481" y="132382"/>
                  </a:lnTo>
                  <a:lnTo>
                    <a:pt x="277615" y="131847"/>
                  </a:lnTo>
                  <a:close/>
                  <a:moveTo>
                    <a:pt x="69193" y="127618"/>
                  </a:moveTo>
                  <a:lnTo>
                    <a:pt x="66903" y="131847"/>
                  </a:lnTo>
                  <a:lnTo>
                    <a:pt x="62106" y="132382"/>
                  </a:lnTo>
                  <a:lnTo>
                    <a:pt x="65447" y="135862"/>
                  </a:lnTo>
                  <a:lnTo>
                    <a:pt x="64477" y="140546"/>
                  </a:lnTo>
                  <a:lnTo>
                    <a:pt x="68816" y="138458"/>
                  </a:lnTo>
                  <a:lnTo>
                    <a:pt x="73019" y="140840"/>
                  </a:lnTo>
                  <a:lnTo>
                    <a:pt x="72373" y="136103"/>
                  </a:lnTo>
                  <a:lnTo>
                    <a:pt x="75929" y="132864"/>
                  </a:lnTo>
                  <a:lnTo>
                    <a:pt x="71187" y="132007"/>
                  </a:lnTo>
                  <a:close/>
                  <a:moveTo>
                    <a:pt x="265997" y="110188"/>
                  </a:moveTo>
                  <a:lnTo>
                    <a:pt x="264803" y="114963"/>
                  </a:lnTo>
                  <a:lnTo>
                    <a:pt x="260243" y="116665"/>
                  </a:lnTo>
                  <a:lnTo>
                    <a:pt x="264341" y="119299"/>
                  </a:lnTo>
                  <a:lnTo>
                    <a:pt x="264558" y="124212"/>
                  </a:lnTo>
                  <a:lnTo>
                    <a:pt x="268276" y="121083"/>
                  </a:lnTo>
                  <a:lnTo>
                    <a:pt x="272971" y="122401"/>
                  </a:lnTo>
                  <a:lnTo>
                    <a:pt x="271180" y="117845"/>
                  </a:lnTo>
                  <a:lnTo>
                    <a:pt x="273867" y="113756"/>
                  </a:lnTo>
                  <a:lnTo>
                    <a:pt x="269009" y="114057"/>
                  </a:lnTo>
                  <a:close/>
                  <a:moveTo>
                    <a:pt x="78590" y="110188"/>
                  </a:moveTo>
                  <a:lnTo>
                    <a:pt x="75578" y="114057"/>
                  </a:lnTo>
                  <a:lnTo>
                    <a:pt x="70721" y="113756"/>
                  </a:lnTo>
                  <a:lnTo>
                    <a:pt x="73407" y="117845"/>
                  </a:lnTo>
                  <a:lnTo>
                    <a:pt x="71616" y="122401"/>
                  </a:lnTo>
                  <a:lnTo>
                    <a:pt x="76311" y="121083"/>
                  </a:lnTo>
                  <a:lnTo>
                    <a:pt x="80029" y="124212"/>
                  </a:lnTo>
                  <a:lnTo>
                    <a:pt x="80246" y="119299"/>
                  </a:lnTo>
                  <a:lnTo>
                    <a:pt x="84344" y="116665"/>
                  </a:lnTo>
                  <a:lnTo>
                    <a:pt x="79785" y="114963"/>
                  </a:lnTo>
                  <a:close/>
                  <a:moveTo>
                    <a:pt x="172293" y="107507"/>
                  </a:moveTo>
                  <a:cubicBezTo>
                    <a:pt x="169195" y="107507"/>
                    <a:pt x="166097" y="109253"/>
                    <a:pt x="164742" y="112163"/>
                  </a:cubicBezTo>
                  <a:lnTo>
                    <a:pt x="148477" y="145335"/>
                  </a:lnTo>
                  <a:lnTo>
                    <a:pt x="111881" y="150766"/>
                  </a:lnTo>
                  <a:cubicBezTo>
                    <a:pt x="108589" y="151154"/>
                    <a:pt x="106072" y="153482"/>
                    <a:pt x="104910" y="156392"/>
                  </a:cubicBezTo>
                  <a:cubicBezTo>
                    <a:pt x="103942" y="159496"/>
                    <a:pt x="104910" y="162988"/>
                    <a:pt x="107234" y="165121"/>
                  </a:cubicBezTo>
                  <a:lnTo>
                    <a:pt x="133567" y="190922"/>
                  </a:lnTo>
                  <a:lnTo>
                    <a:pt x="127371" y="227392"/>
                  </a:lnTo>
                  <a:cubicBezTo>
                    <a:pt x="126790" y="230689"/>
                    <a:pt x="128146" y="233987"/>
                    <a:pt x="130663" y="235733"/>
                  </a:cubicBezTo>
                  <a:cubicBezTo>
                    <a:pt x="132212" y="236897"/>
                    <a:pt x="133955" y="237479"/>
                    <a:pt x="135697" y="237479"/>
                  </a:cubicBezTo>
                  <a:cubicBezTo>
                    <a:pt x="137053" y="237479"/>
                    <a:pt x="138408" y="237091"/>
                    <a:pt x="139570" y="236509"/>
                  </a:cubicBezTo>
                  <a:lnTo>
                    <a:pt x="172293" y="219244"/>
                  </a:lnTo>
                  <a:lnTo>
                    <a:pt x="205016" y="236509"/>
                  </a:lnTo>
                  <a:cubicBezTo>
                    <a:pt x="206372" y="237091"/>
                    <a:pt x="207727" y="237479"/>
                    <a:pt x="209083" y="237479"/>
                  </a:cubicBezTo>
                  <a:cubicBezTo>
                    <a:pt x="210825" y="237479"/>
                    <a:pt x="212568" y="236897"/>
                    <a:pt x="213923" y="235733"/>
                  </a:cubicBezTo>
                  <a:cubicBezTo>
                    <a:pt x="216634" y="233987"/>
                    <a:pt x="217990" y="230689"/>
                    <a:pt x="217409" y="227392"/>
                  </a:cubicBezTo>
                  <a:lnTo>
                    <a:pt x="211213" y="190922"/>
                  </a:lnTo>
                  <a:lnTo>
                    <a:pt x="237546" y="165121"/>
                  </a:lnTo>
                  <a:cubicBezTo>
                    <a:pt x="239870" y="162988"/>
                    <a:pt x="240644" y="159496"/>
                    <a:pt x="239676" y="156392"/>
                  </a:cubicBezTo>
                  <a:cubicBezTo>
                    <a:pt x="238708" y="153482"/>
                    <a:pt x="235997" y="151154"/>
                    <a:pt x="232899" y="150766"/>
                  </a:cubicBezTo>
                  <a:lnTo>
                    <a:pt x="196303" y="145335"/>
                  </a:lnTo>
                  <a:lnTo>
                    <a:pt x="180038" y="112163"/>
                  </a:lnTo>
                  <a:cubicBezTo>
                    <a:pt x="178489" y="109253"/>
                    <a:pt x="175585" y="107507"/>
                    <a:pt x="172293" y="107507"/>
                  </a:cubicBezTo>
                  <a:close/>
                  <a:moveTo>
                    <a:pt x="253771" y="94962"/>
                  </a:moveTo>
                  <a:lnTo>
                    <a:pt x="253394" y="99795"/>
                  </a:lnTo>
                  <a:lnTo>
                    <a:pt x="249225" y="102225"/>
                  </a:lnTo>
                  <a:lnTo>
                    <a:pt x="253690" y="104061"/>
                  </a:lnTo>
                  <a:lnTo>
                    <a:pt x="254712" y="108785"/>
                  </a:lnTo>
                  <a:lnTo>
                    <a:pt x="257833" y="105114"/>
                  </a:lnTo>
                  <a:lnTo>
                    <a:pt x="262648" y="105573"/>
                  </a:lnTo>
                  <a:lnTo>
                    <a:pt x="260119" y="101469"/>
                  </a:lnTo>
                  <a:lnTo>
                    <a:pt x="262056" y="97041"/>
                  </a:lnTo>
                  <a:lnTo>
                    <a:pt x="257348" y="98175"/>
                  </a:lnTo>
                  <a:close/>
                  <a:moveTo>
                    <a:pt x="90749" y="94962"/>
                  </a:moveTo>
                  <a:lnTo>
                    <a:pt x="87118" y="98175"/>
                  </a:lnTo>
                  <a:lnTo>
                    <a:pt x="82340" y="97041"/>
                  </a:lnTo>
                  <a:lnTo>
                    <a:pt x="84333" y="101469"/>
                  </a:lnTo>
                  <a:lnTo>
                    <a:pt x="81739" y="105573"/>
                  </a:lnTo>
                  <a:lnTo>
                    <a:pt x="86626" y="105114"/>
                  </a:lnTo>
                  <a:lnTo>
                    <a:pt x="89793" y="108785"/>
                  </a:lnTo>
                  <a:lnTo>
                    <a:pt x="90831" y="104061"/>
                  </a:lnTo>
                  <a:lnTo>
                    <a:pt x="95363" y="102225"/>
                  </a:lnTo>
                  <a:lnTo>
                    <a:pt x="91131" y="99795"/>
                  </a:lnTo>
                  <a:close/>
                  <a:moveTo>
                    <a:pt x="239015" y="81940"/>
                  </a:moveTo>
                  <a:lnTo>
                    <a:pt x="239501" y="86827"/>
                  </a:lnTo>
                  <a:lnTo>
                    <a:pt x="235802" y="89993"/>
                  </a:lnTo>
                  <a:lnTo>
                    <a:pt x="240527" y="91031"/>
                  </a:lnTo>
                  <a:lnTo>
                    <a:pt x="242363" y="95563"/>
                  </a:lnTo>
                  <a:lnTo>
                    <a:pt x="244792" y="91331"/>
                  </a:lnTo>
                  <a:lnTo>
                    <a:pt x="249625" y="90976"/>
                  </a:lnTo>
                  <a:lnTo>
                    <a:pt x="246413" y="87318"/>
                  </a:lnTo>
                  <a:lnTo>
                    <a:pt x="247546" y="82568"/>
                  </a:lnTo>
                  <a:lnTo>
                    <a:pt x="243119" y="84533"/>
                  </a:lnTo>
                  <a:close/>
                  <a:moveTo>
                    <a:pt x="105372" y="81940"/>
                  </a:moveTo>
                  <a:lnTo>
                    <a:pt x="101268" y="84533"/>
                  </a:lnTo>
                  <a:lnTo>
                    <a:pt x="96841" y="82568"/>
                  </a:lnTo>
                  <a:lnTo>
                    <a:pt x="97975" y="87318"/>
                  </a:lnTo>
                  <a:lnTo>
                    <a:pt x="94762" y="90976"/>
                  </a:lnTo>
                  <a:lnTo>
                    <a:pt x="99594" y="91331"/>
                  </a:lnTo>
                  <a:lnTo>
                    <a:pt x="102024" y="95563"/>
                  </a:lnTo>
                  <a:lnTo>
                    <a:pt x="103860" y="91031"/>
                  </a:lnTo>
                  <a:lnTo>
                    <a:pt x="108585" y="89993"/>
                  </a:lnTo>
                  <a:lnTo>
                    <a:pt x="104886" y="86827"/>
                  </a:lnTo>
                  <a:close/>
                  <a:moveTo>
                    <a:pt x="230910" y="70720"/>
                  </a:moveTo>
                  <a:lnTo>
                    <a:pt x="226879" y="73474"/>
                  </a:lnTo>
                  <a:lnTo>
                    <a:pt x="222361" y="71629"/>
                  </a:lnTo>
                  <a:lnTo>
                    <a:pt x="223687" y="76393"/>
                  </a:lnTo>
                  <a:lnTo>
                    <a:pt x="220576" y="80193"/>
                  </a:lnTo>
                  <a:lnTo>
                    <a:pt x="225418" y="80386"/>
                  </a:lnTo>
                  <a:lnTo>
                    <a:pt x="228015" y="84544"/>
                  </a:lnTo>
                  <a:lnTo>
                    <a:pt x="229692" y="79918"/>
                  </a:lnTo>
                  <a:lnTo>
                    <a:pt x="234399" y="78706"/>
                  </a:lnTo>
                  <a:lnTo>
                    <a:pt x="230585" y="75650"/>
                  </a:lnTo>
                  <a:close/>
                  <a:moveTo>
                    <a:pt x="113678" y="70720"/>
                  </a:moveTo>
                  <a:lnTo>
                    <a:pt x="114002" y="75650"/>
                  </a:lnTo>
                  <a:lnTo>
                    <a:pt x="110188" y="78706"/>
                  </a:lnTo>
                  <a:lnTo>
                    <a:pt x="114895" y="79918"/>
                  </a:lnTo>
                  <a:lnTo>
                    <a:pt x="116572" y="84544"/>
                  </a:lnTo>
                  <a:lnTo>
                    <a:pt x="119169" y="80386"/>
                  </a:lnTo>
                  <a:lnTo>
                    <a:pt x="124011" y="80193"/>
                  </a:lnTo>
                  <a:lnTo>
                    <a:pt x="120900" y="76393"/>
                  </a:lnTo>
                  <a:lnTo>
                    <a:pt x="122226" y="71629"/>
                  </a:lnTo>
                  <a:lnTo>
                    <a:pt x="117708" y="73474"/>
                  </a:lnTo>
                  <a:close/>
                  <a:moveTo>
                    <a:pt x="212334" y="62106"/>
                  </a:moveTo>
                  <a:lnTo>
                    <a:pt x="208828" y="65489"/>
                  </a:lnTo>
                  <a:lnTo>
                    <a:pt x="204046" y="64507"/>
                  </a:lnTo>
                  <a:lnTo>
                    <a:pt x="206165" y="68900"/>
                  </a:lnTo>
                  <a:lnTo>
                    <a:pt x="203747" y="73156"/>
                  </a:lnTo>
                  <a:lnTo>
                    <a:pt x="208584" y="72501"/>
                  </a:lnTo>
                  <a:lnTo>
                    <a:pt x="211844" y="76130"/>
                  </a:lnTo>
                  <a:lnTo>
                    <a:pt x="212714" y="71301"/>
                  </a:lnTo>
                  <a:lnTo>
                    <a:pt x="217170" y="69282"/>
                  </a:lnTo>
                  <a:lnTo>
                    <a:pt x="212877" y="66962"/>
                  </a:lnTo>
                  <a:close/>
                  <a:moveTo>
                    <a:pt x="132182" y="62106"/>
                  </a:moveTo>
                  <a:lnTo>
                    <a:pt x="131646" y="66962"/>
                  </a:lnTo>
                  <a:lnTo>
                    <a:pt x="127417" y="69282"/>
                  </a:lnTo>
                  <a:lnTo>
                    <a:pt x="131807" y="71301"/>
                  </a:lnTo>
                  <a:lnTo>
                    <a:pt x="132663" y="76130"/>
                  </a:lnTo>
                  <a:lnTo>
                    <a:pt x="135875" y="72501"/>
                  </a:lnTo>
                  <a:lnTo>
                    <a:pt x="140640" y="73156"/>
                  </a:lnTo>
                  <a:lnTo>
                    <a:pt x="138258" y="68900"/>
                  </a:lnTo>
                  <a:lnTo>
                    <a:pt x="140345" y="64507"/>
                  </a:lnTo>
                  <a:lnTo>
                    <a:pt x="135635" y="65489"/>
                  </a:lnTo>
                  <a:close/>
                  <a:moveTo>
                    <a:pt x="192615" y="56897"/>
                  </a:moveTo>
                  <a:lnTo>
                    <a:pt x="189761" y="60835"/>
                  </a:lnTo>
                  <a:lnTo>
                    <a:pt x="184915" y="60672"/>
                  </a:lnTo>
                  <a:lnTo>
                    <a:pt x="187742" y="64637"/>
                  </a:lnTo>
                  <a:lnTo>
                    <a:pt x="186127" y="69227"/>
                  </a:lnTo>
                  <a:lnTo>
                    <a:pt x="190704" y="67733"/>
                  </a:lnTo>
                  <a:lnTo>
                    <a:pt x="194527" y="70720"/>
                  </a:lnTo>
                  <a:lnTo>
                    <a:pt x="194554" y="65832"/>
                  </a:lnTo>
                  <a:lnTo>
                    <a:pt x="198538" y="63089"/>
                  </a:lnTo>
                  <a:lnTo>
                    <a:pt x="193961" y="61568"/>
                  </a:lnTo>
                  <a:close/>
                  <a:moveTo>
                    <a:pt x="151859" y="56897"/>
                  </a:moveTo>
                  <a:lnTo>
                    <a:pt x="150493" y="61568"/>
                  </a:lnTo>
                  <a:lnTo>
                    <a:pt x="145849" y="63089"/>
                  </a:lnTo>
                  <a:lnTo>
                    <a:pt x="149892" y="65832"/>
                  </a:lnTo>
                  <a:lnTo>
                    <a:pt x="149919" y="70720"/>
                  </a:lnTo>
                  <a:lnTo>
                    <a:pt x="153798" y="67733"/>
                  </a:lnTo>
                  <a:lnTo>
                    <a:pt x="158443" y="69227"/>
                  </a:lnTo>
                  <a:lnTo>
                    <a:pt x="156804" y="64637"/>
                  </a:lnTo>
                  <a:lnTo>
                    <a:pt x="159672" y="60672"/>
                  </a:lnTo>
                  <a:lnTo>
                    <a:pt x="154755" y="60835"/>
                  </a:lnTo>
                  <a:close/>
                  <a:moveTo>
                    <a:pt x="172307" y="55094"/>
                  </a:moveTo>
                  <a:lnTo>
                    <a:pt x="170121" y="59447"/>
                  </a:lnTo>
                  <a:lnTo>
                    <a:pt x="165282" y="60150"/>
                  </a:lnTo>
                  <a:lnTo>
                    <a:pt x="168781" y="63530"/>
                  </a:lnTo>
                  <a:lnTo>
                    <a:pt x="167961" y="68316"/>
                  </a:lnTo>
                  <a:lnTo>
                    <a:pt x="172307" y="66045"/>
                  </a:lnTo>
                  <a:lnTo>
                    <a:pt x="176627" y="68316"/>
                  </a:lnTo>
                  <a:lnTo>
                    <a:pt x="175806" y="63530"/>
                  </a:lnTo>
                  <a:lnTo>
                    <a:pt x="179306" y="60150"/>
                  </a:lnTo>
                  <a:lnTo>
                    <a:pt x="174467" y="59447"/>
                  </a:lnTo>
                  <a:close/>
                  <a:moveTo>
                    <a:pt x="171615" y="48293"/>
                  </a:moveTo>
                  <a:cubicBezTo>
                    <a:pt x="239051" y="48293"/>
                    <a:pt x="293719" y="102961"/>
                    <a:pt x="293719" y="170398"/>
                  </a:cubicBezTo>
                  <a:cubicBezTo>
                    <a:pt x="293719" y="237834"/>
                    <a:pt x="239051" y="292503"/>
                    <a:pt x="171615" y="292503"/>
                  </a:cubicBezTo>
                  <a:cubicBezTo>
                    <a:pt x="104179" y="292503"/>
                    <a:pt x="49510" y="237834"/>
                    <a:pt x="49510" y="170398"/>
                  </a:cubicBezTo>
                  <a:cubicBezTo>
                    <a:pt x="49510" y="102961"/>
                    <a:pt x="104179" y="48293"/>
                    <a:pt x="171615" y="48293"/>
                  </a:cubicBezTo>
                  <a:close/>
                  <a:moveTo>
                    <a:pt x="171615" y="34348"/>
                  </a:moveTo>
                  <a:cubicBezTo>
                    <a:pt x="96477" y="34348"/>
                    <a:pt x="35565" y="95260"/>
                    <a:pt x="35565" y="170398"/>
                  </a:cubicBezTo>
                  <a:cubicBezTo>
                    <a:pt x="35565" y="245536"/>
                    <a:pt x="96477" y="306448"/>
                    <a:pt x="171615" y="306448"/>
                  </a:cubicBezTo>
                  <a:cubicBezTo>
                    <a:pt x="246753" y="306448"/>
                    <a:pt x="307665" y="245536"/>
                    <a:pt x="307665" y="170398"/>
                  </a:cubicBezTo>
                  <a:cubicBezTo>
                    <a:pt x="307665" y="95260"/>
                    <a:pt x="246753" y="34348"/>
                    <a:pt x="171615" y="34348"/>
                  </a:cubicBezTo>
                  <a:close/>
                  <a:moveTo>
                    <a:pt x="172307" y="0"/>
                  </a:moveTo>
                  <a:cubicBezTo>
                    <a:pt x="186784" y="0"/>
                    <a:pt x="198956" y="17777"/>
                    <a:pt x="212700" y="21468"/>
                  </a:cubicBezTo>
                  <a:cubicBezTo>
                    <a:pt x="226580" y="25187"/>
                    <a:pt x="246018" y="15932"/>
                    <a:pt x="258434" y="23124"/>
                  </a:cubicBezTo>
                  <a:cubicBezTo>
                    <a:pt x="270768" y="30235"/>
                    <a:pt x="272476" y="51703"/>
                    <a:pt x="282724" y="61936"/>
                  </a:cubicBezTo>
                  <a:cubicBezTo>
                    <a:pt x="292944" y="72195"/>
                    <a:pt x="314387" y="73905"/>
                    <a:pt x="321490" y="86254"/>
                  </a:cubicBezTo>
                  <a:cubicBezTo>
                    <a:pt x="328674" y="98684"/>
                    <a:pt x="319430" y="118144"/>
                    <a:pt x="323144" y="132040"/>
                  </a:cubicBezTo>
                  <a:cubicBezTo>
                    <a:pt x="326831" y="145801"/>
                    <a:pt x="344587" y="158014"/>
                    <a:pt x="344587" y="172508"/>
                  </a:cubicBezTo>
                  <a:cubicBezTo>
                    <a:pt x="344587" y="187001"/>
                    <a:pt x="326831" y="199214"/>
                    <a:pt x="323144" y="212975"/>
                  </a:cubicBezTo>
                  <a:cubicBezTo>
                    <a:pt x="319430" y="226844"/>
                    <a:pt x="328674" y="246304"/>
                    <a:pt x="321490" y="258734"/>
                  </a:cubicBezTo>
                  <a:cubicBezTo>
                    <a:pt x="314387" y="271083"/>
                    <a:pt x="292944" y="272793"/>
                    <a:pt x="282724" y="283052"/>
                  </a:cubicBezTo>
                  <a:cubicBezTo>
                    <a:pt x="272476" y="293312"/>
                    <a:pt x="270768" y="314753"/>
                    <a:pt x="258434" y="321891"/>
                  </a:cubicBezTo>
                  <a:cubicBezTo>
                    <a:pt x="246018" y="329056"/>
                    <a:pt x="226580" y="319801"/>
                    <a:pt x="212700" y="323520"/>
                  </a:cubicBezTo>
                  <a:cubicBezTo>
                    <a:pt x="198956" y="327211"/>
                    <a:pt x="186784" y="344988"/>
                    <a:pt x="172307" y="344988"/>
                  </a:cubicBezTo>
                  <a:cubicBezTo>
                    <a:pt x="157804" y="344988"/>
                    <a:pt x="145632" y="327211"/>
                    <a:pt x="131887" y="323520"/>
                  </a:cubicBezTo>
                  <a:cubicBezTo>
                    <a:pt x="118007" y="319801"/>
                    <a:pt x="98570" y="329056"/>
                    <a:pt x="86154" y="321891"/>
                  </a:cubicBezTo>
                  <a:cubicBezTo>
                    <a:pt x="73819" y="314753"/>
                    <a:pt x="72111" y="293312"/>
                    <a:pt x="61864" y="283052"/>
                  </a:cubicBezTo>
                  <a:cubicBezTo>
                    <a:pt x="51644" y="272793"/>
                    <a:pt x="30200" y="271083"/>
                    <a:pt x="23097" y="258734"/>
                  </a:cubicBezTo>
                  <a:cubicBezTo>
                    <a:pt x="15913" y="246304"/>
                    <a:pt x="25158" y="226844"/>
                    <a:pt x="21444" y="212975"/>
                  </a:cubicBezTo>
                  <a:cubicBezTo>
                    <a:pt x="17757" y="199214"/>
                    <a:pt x="0" y="187001"/>
                    <a:pt x="0" y="172508"/>
                  </a:cubicBezTo>
                  <a:cubicBezTo>
                    <a:pt x="0" y="158014"/>
                    <a:pt x="17757" y="145801"/>
                    <a:pt x="21444" y="132040"/>
                  </a:cubicBezTo>
                  <a:cubicBezTo>
                    <a:pt x="25158" y="118144"/>
                    <a:pt x="15913" y="98684"/>
                    <a:pt x="23097" y="86254"/>
                  </a:cubicBezTo>
                  <a:cubicBezTo>
                    <a:pt x="30200" y="73905"/>
                    <a:pt x="51644" y="72195"/>
                    <a:pt x="61864" y="61936"/>
                  </a:cubicBezTo>
                  <a:cubicBezTo>
                    <a:pt x="72111" y="51703"/>
                    <a:pt x="73819" y="30235"/>
                    <a:pt x="86154" y="23124"/>
                  </a:cubicBezTo>
                  <a:cubicBezTo>
                    <a:pt x="98570" y="15932"/>
                    <a:pt x="118007" y="25187"/>
                    <a:pt x="131887" y="21468"/>
                  </a:cubicBezTo>
                  <a:cubicBezTo>
                    <a:pt x="145632" y="17777"/>
                    <a:pt x="157804" y="0"/>
                    <a:pt x="17230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52">
              <a:extLst>
                <a:ext uri="{FF2B5EF4-FFF2-40B4-BE49-F238E27FC236}">
                  <a16:creationId xmlns:a16="http://schemas.microsoft.com/office/drawing/2014/main" id="{02E74E3F-674C-468C-B05E-B8BF34A8AB86}"/>
                </a:ext>
              </a:extLst>
            </p:cNvPr>
            <p:cNvSpPr>
              <a:spLocks/>
            </p:cNvSpPr>
            <p:nvPr/>
          </p:nvSpPr>
          <p:spPr bwMode="auto">
            <a:xfrm>
              <a:off x="2766243" y="443760"/>
              <a:ext cx="145448" cy="207954"/>
            </a:xfrm>
            <a:custGeom>
              <a:avLst/>
              <a:gdLst>
                <a:gd name="T0" fmla="*/ 3234 w 5365"/>
                <a:gd name="T1" fmla="*/ 384 h 7662"/>
                <a:gd name="T2" fmla="*/ 1547 w 5365"/>
                <a:gd name="T3" fmla="*/ 444 h 7662"/>
                <a:gd name="T4" fmla="*/ 57 w 5365"/>
                <a:gd name="T5" fmla="*/ 1235 h 7662"/>
                <a:gd name="T6" fmla="*/ 0 w 5365"/>
                <a:gd name="T7" fmla="*/ 1233 h 7662"/>
                <a:gd name="T8" fmla="*/ 1722 w 5365"/>
                <a:gd name="T9" fmla="*/ 7662 h 7662"/>
                <a:gd name="T10" fmla="*/ 3185 w 5365"/>
                <a:gd name="T11" fmla="*/ 5834 h 7662"/>
                <a:gd name="T12" fmla="*/ 5365 w 5365"/>
                <a:gd name="T13" fmla="*/ 6686 h 7662"/>
                <a:gd name="T14" fmla="*/ 3574 w 5365"/>
                <a:gd name="T15" fmla="*/ 0 h 7662"/>
                <a:gd name="T16" fmla="*/ 3234 w 5365"/>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5" h="7662">
                  <a:moveTo>
                    <a:pt x="3234" y="384"/>
                  </a:moveTo>
                  <a:cubicBezTo>
                    <a:pt x="2776" y="649"/>
                    <a:pt x="2059" y="307"/>
                    <a:pt x="1547" y="444"/>
                  </a:cubicBezTo>
                  <a:cubicBezTo>
                    <a:pt x="1040" y="580"/>
                    <a:pt x="591" y="1235"/>
                    <a:pt x="57" y="1235"/>
                  </a:cubicBezTo>
                  <a:cubicBezTo>
                    <a:pt x="37" y="1235"/>
                    <a:pt x="18" y="1235"/>
                    <a:pt x="0" y="1233"/>
                  </a:cubicBezTo>
                  <a:lnTo>
                    <a:pt x="1722" y="7662"/>
                  </a:lnTo>
                  <a:lnTo>
                    <a:pt x="3185" y="5834"/>
                  </a:lnTo>
                  <a:lnTo>
                    <a:pt x="5365" y="6686"/>
                  </a:lnTo>
                  <a:lnTo>
                    <a:pt x="3574" y="0"/>
                  </a:lnTo>
                  <a:cubicBezTo>
                    <a:pt x="3485" y="162"/>
                    <a:pt x="3380" y="300"/>
                    <a:pt x="3234"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53">
              <a:extLst>
                <a:ext uri="{FF2B5EF4-FFF2-40B4-BE49-F238E27FC236}">
                  <a16:creationId xmlns:a16="http://schemas.microsoft.com/office/drawing/2014/main" id="{DAD1C763-E31E-4212-98CA-65F48FEFF261}"/>
                </a:ext>
              </a:extLst>
            </p:cNvPr>
            <p:cNvSpPr>
              <a:spLocks/>
            </p:cNvSpPr>
            <p:nvPr/>
          </p:nvSpPr>
          <p:spPr bwMode="auto">
            <a:xfrm>
              <a:off x="2608373" y="443760"/>
              <a:ext cx="145448" cy="207954"/>
            </a:xfrm>
            <a:custGeom>
              <a:avLst/>
              <a:gdLst>
                <a:gd name="T0" fmla="*/ 2131 w 5366"/>
                <a:gd name="T1" fmla="*/ 384 h 7662"/>
                <a:gd name="T2" fmla="*/ 3818 w 5366"/>
                <a:gd name="T3" fmla="*/ 444 h 7662"/>
                <a:gd name="T4" fmla="*/ 5308 w 5366"/>
                <a:gd name="T5" fmla="*/ 1235 h 7662"/>
                <a:gd name="T6" fmla="*/ 5366 w 5366"/>
                <a:gd name="T7" fmla="*/ 1233 h 7662"/>
                <a:gd name="T8" fmla="*/ 3643 w 5366"/>
                <a:gd name="T9" fmla="*/ 7662 h 7662"/>
                <a:gd name="T10" fmla="*/ 2180 w 5366"/>
                <a:gd name="T11" fmla="*/ 5834 h 7662"/>
                <a:gd name="T12" fmla="*/ 0 w 5366"/>
                <a:gd name="T13" fmla="*/ 6686 h 7662"/>
                <a:gd name="T14" fmla="*/ 1791 w 5366"/>
                <a:gd name="T15" fmla="*/ 0 h 7662"/>
                <a:gd name="T16" fmla="*/ 2131 w 5366"/>
                <a:gd name="T17" fmla="*/ 384 h 7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6" h="7662">
                  <a:moveTo>
                    <a:pt x="2131" y="384"/>
                  </a:moveTo>
                  <a:cubicBezTo>
                    <a:pt x="2589" y="649"/>
                    <a:pt x="3306" y="307"/>
                    <a:pt x="3818" y="444"/>
                  </a:cubicBezTo>
                  <a:cubicBezTo>
                    <a:pt x="4325" y="580"/>
                    <a:pt x="4774" y="1235"/>
                    <a:pt x="5308" y="1235"/>
                  </a:cubicBezTo>
                  <a:cubicBezTo>
                    <a:pt x="5328" y="1235"/>
                    <a:pt x="5347" y="1235"/>
                    <a:pt x="5366" y="1233"/>
                  </a:cubicBezTo>
                  <a:lnTo>
                    <a:pt x="3643" y="7662"/>
                  </a:lnTo>
                  <a:lnTo>
                    <a:pt x="2180" y="5834"/>
                  </a:lnTo>
                  <a:lnTo>
                    <a:pt x="0" y="6686"/>
                  </a:lnTo>
                  <a:lnTo>
                    <a:pt x="1791" y="0"/>
                  </a:lnTo>
                  <a:cubicBezTo>
                    <a:pt x="1880" y="162"/>
                    <a:pt x="1985" y="300"/>
                    <a:pt x="2131" y="384"/>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036993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CE1063C-26E9-451E-B581-F9094F771F1C}"/>
              </a:ext>
            </a:extLst>
          </p:cNvPr>
          <p:cNvSpPr>
            <a:spLocks noGrp="1"/>
          </p:cNvSpPr>
          <p:nvPr>
            <p:ph type="title"/>
          </p:nvPr>
        </p:nvSpPr>
        <p:spPr>
          <a:xfrm>
            <a:off x="4965430" y="629268"/>
            <a:ext cx="6586491" cy="1286160"/>
          </a:xfrm>
        </p:spPr>
        <p:txBody>
          <a:bodyPr anchor="b">
            <a:normAutofit/>
          </a:bodyPr>
          <a:lstStyle/>
          <a:p>
            <a:r>
              <a:rPr lang="fr-FR" dirty="0"/>
              <a:t>Rappel des principes</a:t>
            </a:r>
          </a:p>
        </p:txBody>
      </p:sp>
      <p:sp>
        <p:nvSpPr>
          <p:cNvPr id="3" name="Espace réservé du contenu 2">
            <a:extLst>
              <a:ext uri="{FF2B5EF4-FFF2-40B4-BE49-F238E27FC236}">
                <a16:creationId xmlns:a16="http://schemas.microsoft.com/office/drawing/2014/main" id="{4547C894-6E87-49E2-8590-12B2A7E70696}"/>
              </a:ext>
            </a:extLst>
          </p:cNvPr>
          <p:cNvSpPr>
            <a:spLocks noGrp="1"/>
          </p:cNvSpPr>
          <p:nvPr>
            <p:ph idx="1"/>
          </p:nvPr>
        </p:nvSpPr>
        <p:spPr>
          <a:xfrm>
            <a:off x="4965431" y="2438400"/>
            <a:ext cx="6586489" cy="3785419"/>
          </a:xfrm>
        </p:spPr>
        <p:txBody>
          <a:bodyPr>
            <a:normAutofit/>
          </a:bodyPr>
          <a:lstStyle/>
          <a:p>
            <a:r>
              <a:rPr lang="fr-FR" sz="4000" dirty="0"/>
              <a:t>A l’inventaire</a:t>
            </a:r>
          </a:p>
        </p:txBody>
      </p:sp>
      <p:pic>
        <p:nvPicPr>
          <p:cNvPr id="5" name="Picture 4" descr="Notes adhésifs sur les murs de verre">
            <a:extLst>
              <a:ext uri="{FF2B5EF4-FFF2-40B4-BE49-F238E27FC236}">
                <a16:creationId xmlns:a16="http://schemas.microsoft.com/office/drawing/2014/main" id="{27D996A6-758F-4354-9504-B9EFAC8C8651}"/>
              </a:ext>
            </a:extLst>
          </p:cNvPr>
          <p:cNvPicPr>
            <a:picLocks noChangeAspect="1"/>
          </p:cNvPicPr>
          <p:nvPr/>
        </p:nvPicPr>
        <p:blipFill rotWithShape="1">
          <a:blip r:embed="rId2"/>
          <a:srcRect l="27236" r="27645" b="-1"/>
          <a:stretch/>
        </p:blipFill>
        <p:spPr>
          <a:xfrm>
            <a:off x="20" y="10"/>
            <a:ext cx="4635571" cy="6857990"/>
          </a:xfrm>
          <a:prstGeom prst="rect">
            <a:avLst/>
          </a:prstGeom>
          <a:effectLst/>
        </p:spPr>
      </p:pic>
      <p:cxnSp>
        <p:nvCxnSpPr>
          <p:cNvPr id="9" name="Straight Connector 8">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EB51C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348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a prudence</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algn="l" defTabSz="914400" rtl="0" eaLnBrk="1" fontAlgn="auto" latinLnBrk="0" hangingPunct="1">
              <a:lnSpc>
                <a:spcPct val="120000"/>
              </a:lnSpc>
              <a:spcBef>
                <a:spcPts val="0"/>
              </a:spcBef>
              <a:spcAft>
                <a:spcPts val="600"/>
              </a:spcAft>
              <a:buClr>
                <a:srgbClr val="B71E42"/>
              </a:buClr>
              <a:buSzPct val="100000"/>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rt. 121-4 </a:t>
            </a:r>
          </a:p>
          <a:p>
            <a:pPr marL="0" marR="0" lvl="0" indent="-228600" algn="l" defTabSz="914400" rtl="0" eaLnBrk="1" fontAlgn="auto" latinLnBrk="0" hangingPunct="1">
              <a:lnSpc>
                <a:spcPct val="120000"/>
              </a:lnSpc>
              <a:spcBef>
                <a:spcPts val="0"/>
              </a:spcBef>
              <a:spcAft>
                <a:spcPts val="600"/>
              </a:spcAft>
              <a:buClr>
                <a:srgbClr val="B71E42"/>
              </a:buClr>
              <a:buSzPct val="100000"/>
              <a:buFont typeface="Arial" panose="020B0604020202020204" pitchFamily="34" charset="0"/>
              <a:buChar char="•"/>
              <a:tabLst/>
              <a:defRPr/>
            </a:pPr>
            <a:r>
              <a:rPr kumimoji="0" lang="fr-FR"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comptabilité est établie sur la base d'appréciations prudentes, pour éviter le risque de transfert, sur des périodes à venir, d'incertitudes présentes susceptibles de grever le patrimoine et le résultat de l'entité. </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 name="ZoneTexte 3">
            <a:extLst>
              <a:ext uri="{FF2B5EF4-FFF2-40B4-BE49-F238E27FC236}">
                <a16:creationId xmlns:a16="http://schemas.microsoft.com/office/drawing/2014/main" id="{B907A768-CC25-4A4B-8C93-DA72B4C4D5E3}"/>
              </a:ext>
            </a:extLst>
          </p:cNvPr>
          <p:cNvSpPr txBox="1"/>
          <p:nvPr/>
        </p:nvSpPr>
        <p:spPr>
          <a:xfrm>
            <a:off x="560673" y="3938277"/>
            <a:ext cx="10836333"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127276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A SEPARATION DES EXERCICES</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algn="l" defTabSz="914400" rtl="0" eaLnBrk="1" fontAlgn="auto" latinLnBrk="0" hangingPunct="1">
              <a:lnSpc>
                <a:spcPct val="120000"/>
              </a:lnSpc>
              <a:spcBef>
                <a:spcPts val="0"/>
              </a:spcBef>
              <a:spcAft>
                <a:spcPts val="600"/>
              </a:spcAft>
              <a:buClr>
                <a:srgbClr val="B71E42"/>
              </a:buClr>
              <a:buSzPct val="100000"/>
              <a:buFont typeface="Arial" panose="020B0604020202020204" pitchFamily="34" charset="0"/>
              <a:buChar char="•"/>
              <a:tabLst/>
              <a:defRPr/>
            </a:pP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 principe comptable est en relation directe avec celui de la continuité d'exploitation. Les différents utilisateurs de l'information comptable (propriétaires, dirigeants, personnel, tiers et l'Etat) ont besoin d'informations périodiques. Il faut déterminer les résultats de la gestion passée de l'entreprise et prévoir les résultats futurs, et donc découper la vie continue des entreprises en périodes ou en exercices comptables.</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7879908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FD6EDB49-211E-499D-9A08-6C5FF3D06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69" name="Rectangle 68">
            <a:extLst>
              <a:ext uri="{FF2B5EF4-FFF2-40B4-BE49-F238E27FC236}">
                <a16:creationId xmlns:a16="http://schemas.microsoft.com/office/drawing/2014/main" id="{38F9F37E-D3CF-4F3D-96C2-25307819D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1" name="Rectangle 70">
            <a:extLst>
              <a:ext uri="{FF2B5EF4-FFF2-40B4-BE49-F238E27FC236}">
                <a16:creationId xmlns:a16="http://schemas.microsoft.com/office/drawing/2014/main" id="{C5FFF17D-767C-40E7-8C89-962F1F54BC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1" y="638508"/>
            <a:ext cx="10905339" cy="4843439"/>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3" name="Rectangle 72">
            <a:extLst>
              <a:ext uri="{FF2B5EF4-FFF2-40B4-BE49-F238E27FC236}">
                <a16:creationId xmlns:a16="http://schemas.microsoft.com/office/drawing/2014/main" id="{E69F39E1-619D-4D9E-8823-8BD8CC3206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0204" y="865667"/>
            <a:ext cx="10451592" cy="4389120"/>
          </a:xfrm>
          <a:prstGeom prst="rect">
            <a:avLst/>
          </a:prstGeom>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1003">
            <a:schemeClr val="l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5" name="Rectangle 74">
            <a:extLst>
              <a:ext uri="{FF2B5EF4-FFF2-40B4-BE49-F238E27FC236}">
                <a16:creationId xmlns:a16="http://schemas.microsoft.com/office/drawing/2014/main" id="{C8C53F47-DF50-454F-A5A6-6B969748D9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4796" y="1030259"/>
            <a:ext cx="10122408" cy="4059936"/>
          </a:xfrm>
          <a:prstGeom prst="rect">
            <a:avLst/>
          </a:prstGeom>
          <a:noFill/>
          <a:ln>
            <a:solidFill>
              <a:srgbClr val="45454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2" name="Title 1"/>
          <p:cNvSpPr>
            <a:spLocks noGrp="1"/>
          </p:cNvSpPr>
          <p:nvPr>
            <p:ph type="title"/>
          </p:nvPr>
        </p:nvSpPr>
        <p:spPr>
          <a:xfrm>
            <a:off x="1451579" y="1376053"/>
            <a:ext cx="9405891" cy="1002990"/>
          </a:xfrm>
        </p:spPr>
        <p:txBody>
          <a:bodyPr vert="horz" lIns="91440" tIns="45720" rIns="91440" bIns="45720" rtlCol="0" anchor="ctr">
            <a:normAutofit/>
          </a:bodyPr>
          <a:lstStyle/>
          <a:p>
            <a:r>
              <a:rPr lang="en-US" b="0" i="0" kern="1200" cap="all" dirty="0">
                <a:solidFill>
                  <a:schemeClr val="tx1"/>
                </a:solidFill>
                <a:effectLst/>
                <a:latin typeface="+mj-lt"/>
                <a:ea typeface="+mj-ea"/>
                <a:cs typeface="+mj-cs"/>
              </a:rPr>
              <a:t>La CONTINUITE D’EXPLOITATION</a:t>
            </a:r>
          </a:p>
        </p:txBody>
      </p:sp>
      <p:sp>
        <p:nvSpPr>
          <p:cNvPr id="10" name="ZoneTexte 9">
            <a:extLst>
              <a:ext uri="{FF2B5EF4-FFF2-40B4-BE49-F238E27FC236}">
                <a16:creationId xmlns:a16="http://schemas.microsoft.com/office/drawing/2014/main" id="{2104DD9E-7F53-465D-8561-41BB61362ACA}"/>
              </a:ext>
            </a:extLst>
          </p:cNvPr>
          <p:cNvSpPr txBox="1"/>
          <p:nvPr/>
        </p:nvSpPr>
        <p:spPr>
          <a:xfrm>
            <a:off x="1451579" y="2464991"/>
            <a:ext cx="9405891" cy="2403571"/>
          </a:xfrm>
          <a:prstGeom prst="rect">
            <a:avLst/>
          </a:prstGeom>
        </p:spPr>
        <p:txBody>
          <a:bodyPr vert="horz" lIns="91440" tIns="45720" rIns="91440" bIns="45720" rtlCol="0" anchor="t">
            <a:normAutofit/>
          </a:bodyPr>
          <a:lstStyle/>
          <a:p>
            <a:pPr marL="0" marR="0" lvl="0" indent="-228600" algn="l" defTabSz="914400" rtl="0" eaLnBrk="1" fontAlgn="auto" latinLnBrk="0" hangingPunct="1">
              <a:lnSpc>
                <a:spcPct val="120000"/>
              </a:lnSpc>
              <a:spcBef>
                <a:spcPts val="0"/>
              </a:spcBef>
              <a:spcAft>
                <a:spcPts val="600"/>
              </a:spcAft>
              <a:buClr>
                <a:srgbClr val="B71E42"/>
              </a:buClr>
              <a:buSzPct val="100000"/>
              <a:buFont typeface="Arial" panose="020B0604020202020204" pitchFamily="34" charset="0"/>
              <a:buChar char="•"/>
              <a:tabLst/>
              <a:defRPr/>
            </a:pP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 principe comptable est en relation directe avec celui de la continuité d'exploitation. Les différents utilisateurs de l'information comptable (propriétaires, dirigeants, personnel, tiers et l'Etat) ont besoin d'informations périodiques. Il faut déterminer les résultats de la gestion passée de l'entreprise et prévoir les résultats futurs, et donc découper la vie continue des entreprises en périodes ou en exercices comptables</a:t>
            </a:r>
            <a:r>
              <a:rPr kumimoji="0" lang="fr-FR" sz="1700" b="0" i="0" u="none" strike="noStrike" kern="1200" cap="none" spc="0" normalizeH="0" baseline="0" noProof="0" dirty="0">
                <a:ln>
                  <a:noFill/>
                </a:ln>
                <a:solidFill>
                  <a:prstClr val="black"/>
                </a:solidFill>
                <a:effectLst/>
                <a:uLnTx/>
                <a:uFillTx/>
                <a:latin typeface="Gill Sans MT" panose="020B0502020104020203"/>
                <a:ea typeface="+mn-ea"/>
                <a:cs typeface="+mn-cs"/>
              </a:rPr>
              <a:t>.</a:t>
            </a:r>
            <a:endParaRPr kumimoji="0" lang="en-US" sz="17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pic>
        <p:nvPicPr>
          <p:cNvPr id="77" name="Picture 76">
            <a:extLst>
              <a:ext uri="{FF2B5EF4-FFF2-40B4-BE49-F238E27FC236}">
                <a16:creationId xmlns:a16="http://schemas.microsoft.com/office/drawing/2014/main" id="{6A26901A-BC62-4A3A-A07A-65E1F3DDDEC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3" name="ZoneTexte 2">
            <a:extLst>
              <a:ext uri="{FF2B5EF4-FFF2-40B4-BE49-F238E27FC236}">
                <a16:creationId xmlns:a16="http://schemas.microsoft.com/office/drawing/2014/main" id="{FE511234-0564-45CF-9753-9673E2310CC0}"/>
              </a:ext>
            </a:extLst>
          </p:cNvPr>
          <p:cNvSpPr txBox="1"/>
          <p:nvPr/>
        </p:nvSpPr>
        <p:spPr>
          <a:xfrm>
            <a:off x="560673" y="3849358"/>
            <a:ext cx="11295530" cy="2024498"/>
          </a:xfrm>
          <a:prstGeom prst="rect">
            <a:avLst/>
          </a:prstGeom>
        </p:spPr>
        <p:txBody>
          <a:bodyPr vert="horz" lIns="91440" tIns="91440" rIns="91440" bIns="91440" rtlCol="0">
            <a:noAutofit/>
          </a:bodyPr>
          <a:lstStyle/>
          <a:p>
            <a:pPr marL="0" marR="0" lvl="0" indent="0" algn="l" defTabSz="914400" rtl="0" eaLnBrk="1" fontAlgn="auto" latinLnBrk="0" hangingPunct="1">
              <a:lnSpc>
                <a:spcPct val="120000"/>
              </a:lnSpc>
              <a:spcBef>
                <a:spcPts val="1000"/>
              </a:spcBef>
              <a:spcAft>
                <a:spcPts val="0"/>
              </a:spcAft>
              <a:buClr>
                <a:srgbClr val="B71E42"/>
              </a:buClr>
              <a:buSzPct val="100000"/>
              <a:buFontTx/>
              <a:buNone/>
              <a:tabLst/>
              <a:defRPr/>
            </a:pPr>
            <a:endParaRPr kumimoji="0" lang="en-US" sz="3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0069741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3E443FD7-A66B-4AA0-872D-B088B9BC5F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AB4BD8A2-5C77-4F6B-ACB6-AB917A0C0D72}"/>
              </a:ext>
            </a:extLst>
          </p:cNvPr>
          <p:cNvSpPr>
            <a:spLocks noGrp="1"/>
          </p:cNvSpPr>
          <p:nvPr>
            <p:ph type="title"/>
          </p:nvPr>
        </p:nvSpPr>
        <p:spPr>
          <a:xfrm>
            <a:off x="1094095" y="851517"/>
            <a:ext cx="5238466" cy="2991416"/>
          </a:xfrm>
        </p:spPr>
        <p:txBody>
          <a:bodyPr vert="horz" lIns="91440" tIns="45720" rIns="91440" bIns="45720" rtlCol="0" anchor="b">
            <a:normAutofit/>
          </a:bodyPr>
          <a:lstStyle/>
          <a:p>
            <a:r>
              <a:rPr lang="en-US" sz="6000" kern="1200" dirty="0" err="1">
                <a:solidFill>
                  <a:schemeClr val="tx1"/>
                </a:solidFill>
                <a:latin typeface="+mj-lt"/>
                <a:ea typeface="+mj-ea"/>
                <a:cs typeface="+mj-cs"/>
              </a:rPr>
              <a:t>Amortissement</a:t>
            </a:r>
            <a:endParaRPr lang="en-US" sz="6000" kern="1200" dirty="0">
              <a:solidFill>
                <a:schemeClr val="tx1"/>
              </a:solidFill>
              <a:latin typeface="+mj-lt"/>
              <a:ea typeface="+mj-ea"/>
              <a:cs typeface="+mj-cs"/>
            </a:endParaRPr>
          </a:p>
        </p:txBody>
      </p:sp>
      <p:sp>
        <p:nvSpPr>
          <p:cNvPr id="3" name="Espace réservé du contenu 2">
            <a:extLst>
              <a:ext uri="{FF2B5EF4-FFF2-40B4-BE49-F238E27FC236}">
                <a16:creationId xmlns:a16="http://schemas.microsoft.com/office/drawing/2014/main" id="{667BC496-97F0-4F08-B182-396A614F80AF}"/>
              </a:ext>
            </a:extLst>
          </p:cNvPr>
          <p:cNvSpPr>
            <a:spLocks noGrp="1"/>
          </p:cNvSpPr>
          <p:nvPr>
            <p:ph idx="1"/>
          </p:nvPr>
        </p:nvSpPr>
        <p:spPr>
          <a:xfrm>
            <a:off x="1094096" y="3842932"/>
            <a:ext cx="4167115" cy="2163551"/>
          </a:xfrm>
        </p:spPr>
        <p:txBody>
          <a:bodyPr vert="horz" lIns="91440" tIns="45720" rIns="91440" bIns="45720" rtlCol="0" anchor="t">
            <a:normAutofit/>
          </a:bodyPr>
          <a:lstStyle/>
          <a:p>
            <a:pPr marL="0" indent="0">
              <a:buNone/>
            </a:pPr>
            <a:r>
              <a:rPr lang="en-US" sz="4400" kern="1200" dirty="0" err="1">
                <a:solidFill>
                  <a:schemeClr val="tx1"/>
                </a:solidFill>
                <a:latin typeface="+mn-lt"/>
                <a:ea typeface="+mn-ea"/>
                <a:cs typeface="+mn-cs"/>
              </a:rPr>
              <a:t>C’est</a:t>
            </a:r>
            <a:r>
              <a:rPr lang="en-US" sz="4400" kern="1200" dirty="0">
                <a:solidFill>
                  <a:schemeClr val="tx1"/>
                </a:solidFill>
                <a:latin typeface="+mn-lt"/>
                <a:ea typeface="+mn-ea"/>
                <a:cs typeface="+mn-cs"/>
              </a:rPr>
              <a:t> le plan </a:t>
            </a:r>
            <a:r>
              <a:rPr lang="en-US" sz="4400" kern="1200" dirty="0" err="1">
                <a:solidFill>
                  <a:schemeClr val="tx1"/>
                </a:solidFill>
                <a:latin typeface="+mn-lt"/>
                <a:ea typeface="+mn-ea"/>
                <a:cs typeface="+mn-cs"/>
              </a:rPr>
              <a:t>d’amortissement</a:t>
            </a:r>
            <a:endParaRPr lang="en-US" sz="4400" kern="1200" dirty="0">
              <a:solidFill>
                <a:schemeClr val="tx1"/>
              </a:solidFill>
              <a:latin typeface="+mn-lt"/>
              <a:ea typeface="+mn-ea"/>
              <a:cs typeface="+mn-cs"/>
            </a:endParaRPr>
          </a:p>
        </p:txBody>
      </p:sp>
      <p:sp>
        <p:nvSpPr>
          <p:cNvPr id="17" name="Freeform: Shape 16">
            <a:extLst>
              <a:ext uri="{FF2B5EF4-FFF2-40B4-BE49-F238E27FC236}">
                <a16:creationId xmlns:a16="http://schemas.microsoft.com/office/drawing/2014/main" id="{C04BE0EF-3561-49B4-9A29-F283168A9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0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3 h 5154967"/>
              <a:gd name="connsiteX37" fmla="*/ 1625714 w 6184806"/>
              <a:gd name="connsiteY37" fmla="*/ 109243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2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0"/>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3"/>
                  <a:pt x="2445216" y="109243"/>
                </a:cubicBezTo>
                <a:cubicBezTo>
                  <a:pt x="1625714" y="109243"/>
                  <a:pt x="1625714" y="109243"/>
                  <a:pt x="1625714" y="109243"/>
                </a:cubicBezTo>
                <a:cubicBezTo>
                  <a:pt x="1572615" y="109243"/>
                  <a:pt x="1524825" y="137459"/>
                  <a:pt x="1498276" y="183309"/>
                </a:cubicBezTo>
                <a:cubicBezTo>
                  <a:pt x="1089410" y="890450"/>
                  <a:pt x="1089410" y="890450"/>
                  <a:pt x="1089410" y="890450"/>
                </a:cubicBezTo>
                <a:cubicBezTo>
                  <a:pt x="1062860" y="934537"/>
                  <a:pt x="1062860" y="990967"/>
                  <a:pt x="1089410" y="1035054"/>
                </a:cubicBezTo>
                <a:cubicBezTo>
                  <a:pt x="1498276" y="1742196"/>
                  <a:pt x="1498276" y="1742196"/>
                  <a:pt x="1498276" y="1742196"/>
                </a:cubicBezTo>
                <a:cubicBezTo>
                  <a:pt x="1511551" y="1765121"/>
                  <a:pt x="1530135" y="1783637"/>
                  <a:pt x="1552039" y="1796422"/>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Graphic 6" descr="Coche">
            <a:extLst>
              <a:ext uri="{FF2B5EF4-FFF2-40B4-BE49-F238E27FC236}">
                <a16:creationId xmlns:a16="http://schemas.microsoft.com/office/drawing/2014/main" id="{E889F2CB-776F-4113-951A-136AF7AF2BD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31503" y="2129307"/>
            <a:ext cx="3217333" cy="3217333"/>
          </a:xfrm>
          <a:prstGeom prst="rect">
            <a:avLst/>
          </a:prstGeom>
        </p:spPr>
      </p:pic>
    </p:spTree>
    <p:extLst>
      <p:ext uri="{BB962C8B-B14F-4D97-AF65-F5344CB8AC3E}">
        <p14:creationId xmlns:p14="http://schemas.microsoft.com/office/powerpoint/2010/main" val="3854939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1C25B89-ECC8-4C4C-9793-BF73FEA1C16C}"/>
              </a:ext>
            </a:extLst>
          </p:cNvPr>
          <p:cNvSpPr>
            <a:spLocks noGrp="1"/>
          </p:cNvSpPr>
          <p:nvPr>
            <p:ph type="title"/>
          </p:nvPr>
        </p:nvSpPr>
        <p:spPr/>
        <p:txBody>
          <a:bodyPr/>
          <a:lstStyle/>
          <a:p>
            <a:r>
              <a:rPr lang="fr-FR" dirty="0"/>
              <a:t>Exemple - Machine 10 ans 45 000 € HT</a:t>
            </a:r>
          </a:p>
        </p:txBody>
      </p:sp>
      <p:graphicFrame>
        <p:nvGraphicFramePr>
          <p:cNvPr id="4" name="Espace réservé du contenu 3">
            <a:extLst>
              <a:ext uri="{FF2B5EF4-FFF2-40B4-BE49-F238E27FC236}">
                <a16:creationId xmlns:a16="http://schemas.microsoft.com/office/drawing/2014/main" id="{C8B39154-0893-4BC9-A638-37A89DE54D73}"/>
              </a:ext>
            </a:extLst>
          </p:cNvPr>
          <p:cNvGraphicFramePr>
            <a:graphicFrameLocks noGrp="1"/>
          </p:cNvGraphicFramePr>
          <p:nvPr>
            <p:ph idx="1"/>
            <p:extLst>
              <p:ext uri="{D42A27DB-BD31-4B8C-83A1-F6EECF244321}">
                <p14:modId xmlns:p14="http://schemas.microsoft.com/office/powerpoint/2010/main" val="4128976112"/>
              </p:ext>
            </p:extLst>
          </p:nvPr>
        </p:nvGraphicFramePr>
        <p:xfrm>
          <a:off x="279917" y="1483567"/>
          <a:ext cx="11625944" cy="4578259"/>
        </p:xfrm>
        <a:graphic>
          <a:graphicData uri="http://schemas.openxmlformats.org/drawingml/2006/table">
            <a:tbl>
              <a:tblPr/>
              <a:tblGrid>
                <a:gridCol w="2607118">
                  <a:extLst>
                    <a:ext uri="{9D8B030D-6E8A-4147-A177-3AD203B41FA5}">
                      <a16:colId xmlns:a16="http://schemas.microsoft.com/office/drawing/2014/main" val="3878318474"/>
                    </a:ext>
                  </a:extLst>
                </a:gridCol>
                <a:gridCol w="2459242">
                  <a:extLst>
                    <a:ext uri="{9D8B030D-6E8A-4147-A177-3AD203B41FA5}">
                      <a16:colId xmlns:a16="http://schemas.microsoft.com/office/drawing/2014/main" val="1640929904"/>
                    </a:ext>
                  </a:extLst>
                </a:gridCol>
                <a:gridCol w="1406429">
                  <a:extLst>
                    <a:ext uri="{9D8B030D-6E8A-4147-A177-3AD203B41FA5}">
                      <a16:colId xmlns:a16="http://schemas.microsoft.com/office/drawing/2014/main" val="3829056736"/>
                    </a:ext>
                  </a:extLst>
                </a:gridCol>
                <a:gridCol w="1554305">
                  <a:extLst>
                    <a:ext uri="{9D8B030D-6E8A-4147-A177-3AD203B41FA5}">
                      <a16:colId xmlns:a16="http://schemas.microsoft.com/office/drawing/2014/main" val="324211081"/>
                    </a:ext>
                  </a:extLst>
                </a:gridCol>
                <a:gridCol w="1880596">
                  <a:extLst>
                    <a:ext uri="{9D8B030D-6E8A-4147-A177-3AD203B41FA5}">
                      <a16:colId xmlns:a16="http://schemas.microsoft.com/office/drawing/2014/main" val="3423509655"/>
                    </a:ext>
                  </a:extLst>
                </a:gridCol>
                <a:gridCol w="1718254">
                  <a:extLst>
                    <a:ext uri="{9D8B030D-6E8A-4147-A177-3AD203B41FA5}">
                      <a16:colId xmlns:a16="http://schemas.microsoft.com/office/drawing/2014/main" val="2496320019"/>
                    </a:ext>
                  </a:extLst>
                </a:gridCol>
              </a:tblGrid>
              <a:tr h="1030899">
                <a:tc>
                  <a:txBody>
                    <a:bodyPr/>
                    <a:lstStyle/>
                    <a:p>
                      <a:pPr algn="ctr"/>
                      <a:r>
                        <a:rPr lang="fr-FR" sz="1600" b="1" dirty="0">
                          <a:effectLst/>
                          <a:latin typeface="Verdana" panose="020B0604030504040204" pitchFamily="34" charset="0"/>
                          <a:ea typeface="Times New Roman" panose="02020603050405020304" pitchFamily="18" charset="0"/>
                          <a:cs typeface="Times New Roman" panose="02020603050405020304" pitchFamily="18" charset="0"/>
                        </a:rPr>
                        <a:t>Date d’inventaire</a:t>
                      </a:r>
                      <a:endParaRPr lang="fr-FR" sz="16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b="1" dirty="0">
                          <a:effectLst/>
                          <a:latin typeface="Verdana" panose="020B0604030504040204" pitchFamily="34" charset="0"/>
                          <a:ea typeface="Times New Roman" panose="02020603050405020304" pitchFamily="18" charset="0"/>
                          <a:cs typeface="Times New Roman" panose="02020603050405020304" pitchFamily="18" charset="0"/>
                        </a:rPr>
                        <a:t>Base de calcul</a:t>
                      </a:r>
                      <a:endParaRPr lang="fr-FR" sz="16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b="1" dirty="0">
                          <a:effectLst/>
                          <a:latin typeface="Verdana" panose="020B0604030504040204" pitchFamily="34" charset="0"/>
                          <a:ea typeface="Times New Roman" panose="02020603050405020304" pitchFamily="18" charset="0"/>
                          <a:cs typeface="Times New Roman" panose="02020603050405020304" pitchFamily="18" charset="0"/>
                        </a:rPr>
                        <a:t>Taux</a:t>
                      </a:r>
                      <a:endParaRPr lang="fr-FR" sz="1600" dirty="0">
                        <a:effectLst/>
                        <a:latin typeface="Verdana" panose="020B0604030504040204" pitchFamily="34" charset="0"/>
                        <a:ea typeface="Times New Roman" panose="02020603050405020304" pitchFamily="18" charset="0"/>
                        <a:cs typeface="Times New Roman" panose="02020603050405020304" pitchFamily="18" charset="0"/>
                      </a:endParaRPr>
                    </a:p>
                    <a:p>
                      <a:pPr algn="ctr"/>
                      <a:r>
                        <a:rPr lang="fr-FR" sz="1600" b="1" dirty="0">
                          <a:effectLst/>
                          <a:latin typeface="Verdana" panose="020B0604030504040204" pitchFamily="34" charset="0"/>
                          <a:ea typeface="Times New Roman" panose="02020603050405020304" pitchFamily="18" charset="0"/>
                          <a:cs typeface="Times New Roman" panose="02020603050405020304" pitchFamily="18" charset="0"/>
                        </a:rPr>
                        <a:t>linéaire</a:t>
                      </a:r>
                      <a:endParaRPr lang="fr-FR" sz="16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b="1" dirty="0">
                          <a:effectLst/>
                          <a:latin typeface="Verdana" panose="020B0604030504040204" pitchFamily="34" charset="0"/>
                          <a:ea typeface="Times New Roman" panose="02020603050405020304" pitchFamily="18" charset="0"/>
                          <a:cs typeface="Times New Roman" panose="02020603050405020304" pitchFamily="18" charset="0"/>
                        </a:rPr>
                        <a:t>Annuités</a:t>
                      </a:r>
                      <a:endParaRPr lang="fr-FR" sz="16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b="1" dirty="0">
                          <a:effectLst/>
                          <a:latin typeface="Verdana" panose="020B0604030504040204" pitchFamily="34" charset="0"/>
                          <a:ea typeface="Times New Roman" panose="02020603050405020304" pitchFamily="18" charset="0"/>
                          <a:cs typeface="Times New Roman" panose="02020603050405020304" pitchFamily="18" charset="0"/>
                        </a:rPr>
                        <a:t>Annuités </a:t>
                      </a:r>
                      <a:br>
                        <a:rPr lang="fr-FR" sz="1600" b="1" dirty="0">
                          <a:effectLst/>
                          <a:latin typeface="Verdana" panose="020B0604030504040204" pitchFamily="34" charset="0"/>
                          <a:ea typeface="Times New Roman" panose="02020603050405020304" pitchFamily="18" charset="0"/>
                          <a:cs typeface="Times New Roman" panose="02020603050405020304" pitchFamily="18" charset="0"/>
                        </a:rPr>
                      </a:br>
                      <a:r>
                        <a:rPr lang="fr-FR" sz="1600" b="1" dirty="0">
                          <a:effectLst/>
                          <a:latin typeface="Verdana" panose="020B0604030504040204" pitchFamily="34" charset="0"/>
                          <a:ea typeface="Times New Roman" panose="02020603050405020304" pitchFamily="18" charset="0"/>
                          <a:cs typeface="Times New Roman" panose="02020603050405020304" pitchFamily="18" charset="0"/>
                        </a:rPr>
                        <a:t>cumulées</a:t>
                      </a:r>
                      <a:endParaRPr lang="fr-FR" sz="16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b="1" dirty="0">
                          <a:effectLst/>
                          <a:latin typeface="Verdana" panose="020B0604030504040204" pitchFamily="34" charset="0"/>
                          <a:ea typeface="Times New Roman" panose="02020603050405020304" pitchFamily="18" charset="0"/>
                          <a:cs typeface="Times New Roman" panose="02020603050405020304" pitchFamily="18" charset="0"/>
                        </a:rPr>
                        <a:t>V.N.C</a:t>
                      </a:r>
                      <a:endParaRPr lang="fr-FR" sz="16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4212113"/>
                  </a:ext>
                </a:extLst>
              </a:tr>
              <a:tr h="652272">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31/12/N</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45 0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10 %</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highlight>
                            <a:srgbClr val="FFFF00"/>
                          </a:highlight>
                          <a:latin typeface="Verdana" panose="020B0604030504040204" pitchFamily="34" charset="0"/>
                          <a:ea typeface="Times New Roman" panose="02020603050405020304" pitchFamily="18" charset="0"/>
                          <a:cs typeface="Times New Roman" panose="02020603050405020304" pitchFamily="18" charset="0"/>
                        </a:rPr>
                        <a:t>1 312,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1 312,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43 687,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9360975"/>
                  </a:ext>
                </a:extLst>
              </a:tr>
              <a:tr h="660878">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31/12/N+1</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45 0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10 %</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highlight>
                            <a:srgbClr val="00FF00"/>
                          </a:highlight>
                          <a:latin typeface="Verdana" panose="020B0604030504040204" pitchFamily="34" charset="0"/>
                          <a:ea typeface="Times New Roman" panose="02020603050405020304" pitchFamily="18" charset="0"/>
                          <a:cs typeface="Times New Roman" panose="02020603050405020304" pitchFamily="18" charset="0"/>
                        </a:rPr>
                        <a:t>4 5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5 812,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39 187,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9305598"/>
                  </a:ext>
                </a:extLst>
              </a:tr>
              <a:tr h="660878">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31/12/N+2</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45 0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10 %</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4 5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10 312,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34 687,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8642762"/>
                  </a:ext>
                </a:extLst>
              </a:tr>
              <a:tr h="332465">
                <a:tc>
                  <a:txBody>
                    <a:bodyPr/>
                    <a:lstStyle/>
                    <a:p>
                      <a:pPr algn="ctr"/>
                      <a:endParaRPr lang="fr-FR" sz="1600" dirty="0">
                        <a:effectLst/>
                        <a:highlight>
                          <a:srgbClr val="FFFF00"/>
                        </a:highligh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tc>
                  <a:txBody>
                    <a:bodyPr/>
                    <a:lstStyle/>
                    <a:p>
                      <a:pPr algn="ctr"/>
                      <a:endParaRPr lang="fr-FR" sz="1600" dirty="0">
                        <a:effectLst/>
                        <a:highlight>
                          <a:srgbClr val="FFFF00"/>
                        </a:highligh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tc>
                  <a:txBody>
                    <a:bodyPr/>
                    <a:lstStyle/>
                    <a:p>
                      <a:pPr algn="ctr"/>
                      <a:endParaRPr lang="fr-FR" sz="1600" dirty="0">
                        <a:effectLst/>
                        <a:highlight>
                          <a:srgbClr val="FFFF00"/>
                        </a:highligh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tc>
                  <a:txBody>
                    <a:bodyPr/>
                    <a:lstStyle/>
                    <a:p>
                      <a:pPr algn="r"/>
                      <a:endParaRPr lang="fr-FR" sz="1600" dirty="0">
                        <a:effectLst/>
                        <a:highlight>
                          <a:srgbClr val="FFFF00"/>
                        </a:highligh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tc>
                  <a:txBody>
                    <a:bodyPr/>
                    <a:lstStyle/>
                    <a:p>
                      <a:pPr algn="r"/>
                      <a:endParaRPr lang="fr-FR" sz="1600" dirty="0">
                        <a:effectLst/>
                        <a:highlight>
                          <a:srgbClr val="FFFF00"/>
                        </a:highligh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tc>
                  <a:txBody>
                    <a:bodyPr/>
                    <a:lstStyle/>
                    <a:p>
                      <a:pPr algn="r"/>
                      <a:endParaRPr lang="fr-FR" sz="1600" dirty="0">
                        <a:effectLst/>
                        <a:highlight>
                          <a:srgbClr val="FFFF00"/>
                        </a:highligh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665509517"/>
                  </a:ext>
                </a:extLst>
              </a:tr>
              <a:tr h="660878">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31/12/N+9</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45 0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10 %</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4 5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41 812,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3 187,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658833"/>
                  </a:ext>
                </a:extLst>
              </a:tr>
              <a:tr h="579989">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31/12/N+1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45 0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10 %</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3 187,5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45 000,0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r>
                        <a:rPr lang="fr-FR" sz="1600" dirty="0">
                          <a:effectLst/>
                          <a:latin typeface="Verdana" panose="020B0604030504040204" pitchFamily="34" charset="0"/>
                          <a:ea typeface="Times New Roman" panose="02020603050405020304" pitchFamily="18" charset="0"/>
                          <a:cs typeface="Times New Roman" panose="02020603050405020304" pitchFamily="18" charset="0"/>
                        </a:rPr>
                        <a:t>0</a:t>
                      </a: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6119391"/>
                  </a:ext>
                </a:extLst>
              </a:tr>
            </a:tbl>
          </a:graphicData>
        </a:graphic>
      </p:graphicFrame>
    </p:spTree>
    <p:extLst>
      <p:ext uri="{BB962C8B-B14F-4D97-AF65-F5344CB8AC3E}">
        <p14:creationId xmlns:p14="http://schemas.microsoft.com/office/powerpoint/2010/main" val="1841325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Galerie">
  <a:themeElements>
    <a:clrScheme name="Gallery">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lery">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00</TotalTime>
  <Words>676</Words>
  <Application>Microsoft Office PowerPoint</Application>
  <PresentationFormat>Grand écran</PresentationFormat>
  <Paragraphs>128</Paragraphs>
  <Slides>15</Slides>
  <Notes>6</Notes>
  <HiddenSlides>0</HiddenSlides>
  <MMClips>0</MMClips>
  <ScaleCrop>false</ScaleCrop>
  <HeadingPairs>
    <vt:vector size="6" baseType="variant">
      <vt:variant>
        <vt:lpstr>Polices utilisées</vt:lpstr>
      </vt:variant>
      <vt:variant>
        <vt:i4>6</vt:i4>
      </vt:variant>
      <vt:variant>
        <vt:lpstr>Thème</vt:lpstr>
      </vt:variant>
      <vt:variant>
        <vt:i4>3</vt:i4>
      </vt:variant>
      <vt:variant>
        <vt:lpstr>Titres des diapositives</vt:lpstr>
      </vt:variant>
      <vt:variant>
        <vt:i4>15</vt:i4>
      </vt:variant>
    </vt:vector>
  </HeadingPairs>
  <TitlesOfParts>
    <vt:vector size="24" baseType="lpstr">
      <vt:lpstr>Arial</vt:lpstr>
      <vt:lpstr>Calibri</vt:lpstr>
      <vt:lpstr>Calibri Light</vt:lpstr>
      <vt:lpstr>Gill Sans MT</vt:lpstr>
      <vt:lpstr>Times New Roman</vt:lpstr>
      <vt:lpstr>Verdana</vt:lpstr>
      <vt:lpstr>Thème Office</vt:lpstr>
      <vt:lpstr>1_Thème Office</vt:lpstr>
      <vt:lpstr>Galerie</vt:lpstr>
      <vt:lpstr>Université de Montpellier </vt:lpstr>
      <vt:lpstr>Programme prévisionnel</vt:lpstr>
      <vt:lpstr> </vt:lpstr>
      <vt:lpstr>Rappel des principes</vt:lpstr>
      <vt:lpstr>La prudence</vt:lpstr>
      <vt:lpstr>LA SEPARATION DES EXERCICES</vt:lpstr>
      <vt:lpstr>La CONTINUITE D’EXPLOITATION</vt:lpstr>
      <vt:lpstr>Amortissement</vt:lpstr>
      <vt:lpstr>Exemple - Machine 10 ans 45 000 € HT</vt:lpstr>
      <vt:lpstr>Exemple – Au 31/12/N</vt:lpstr>
      <vt:lpstr>Exemple – Au 31/12/N+1</vt:lpstr>
      <vt:lpstr>Ecriture d’inventaire et revisions</vt:lpstr>
      <vt:lpstr>Cas Inventaire</vt:lpstr>
      <vt:lpstr>Cas Inventaire</vt:lpstr>
      <vt:lpstr>Merc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mation Février 2021 ATHENA SECURITE</dc:title>
  <dc:creator>christophe CHUECOS-FONT</dc:creator>
  <cp:lastModifiedBy>christophe CHUECOS-FONT</cp:lastModifiedBy>
  <cp:revision>4</cp:revision>
  <dcterms:created xsi:type="dcterms:W3CDTF">2021-02-02T18:32:53Z</dcterms:created>
  <dcterms:modified xsi:type="dcterms:W3CDTF">2021-04-30T15:40:06Z</dcterms:modified>
</cp:coreProperties>
</file>